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7"/>
  </p:notesMasterIdLst>
  <p:sldIdLst>
    <p:sldId id="1805" r:id="rId6"/>
  </p:sldIdLst>
  <p:sldSz cx="9906000" cy="6858000" type="A4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8CBFF-2C98-4C0B-80BE-02253EEE2A33}" v="7" dt="2025-05-09T05:58:22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552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下坂 聡(SHIMOSAKA Satoshi)" userId="S::satoshi.shimosaka.n9h@cas.go.jp::a77f28bc-12c8-491e-acb3-262fd00db6c9" providerId="AD" clId="Web-{7CD95F75-1395-755B-3A5B-B676B7131FC7}"/>
    <pc:docChg chg="modSld">
      <pc:chgData name="下坂 聡(SHIMOSAKA Satoshi)" userId="S::satoshi.shimosaka.n9h@cas.go.jp::a77f28bc-12c8-491e-acb3-262fd00db6c9" providerId="AD" clId="Web-{7CD95F75-1395-755B-3A5B-B676B7131FC7}" dt="2025-04-16T06:19:41.892" v="517" actId="1076"/>
      <pc:docMkLst>
        <pc:docMk/>
      </pc:docMkLst>
      <pc:sldChg chg="modSp">
        <pc:chgData name="下坂 聡(SHIMOSAKA Satoshi)" userId="S::satoshi.shimosaka.n9h@cas.go.jp::a77f28bc-12c8-491e-acb3-262fd00db6c9" providerId="AD" clId="Web-{7CD95F75-1395-755B-3A5B-B676B7131FC7}" dt="2025-04-16T06:19:41.892" v="517" actId="1076"/>
        <pc:sldMkLst>
          <pc:docMk/>
          <pc:sldMk cId="1731062681" sldId="1801"/>
        </pc:sldMkLst>
        <pc:spChg chg="mod">
          <ac:chgData name="下坂 聡(SHIMOSAKA Satoshi)" userId="S::satoshi.shimosaka.n9h@cas.go.jp::a77f28bc-12c8-491e-acb3-262fd00db6c9" providerId="AD" clId="Web-{7CD95F75-1395-755B-3A5B-B676B7131FC7}" dt="2025-04-16T06:19:41.892" v="517" actId="1076"/>
          <ac:spMkLst>
            <pc:docMk/>
            <pc:sldMk cId="1731062681" sldId="1801"/>
            <ac:spMk id="9" creationId="{4EF196C3-6C2F-EAEC-23CC-6D7341178A1C}"/>
          </ac:spMkLst>
        </pc:spChg>
        <pc:graphicFrameChg chg="mod modGraphic">
          <ac:chgData name="下坂 聡(SHIMOSAKA Satoshi)" userId="S::satoshi.shimosaka.n9h@cas.go.jp::a77f28bc-12c8-491e-acb3-262fd00db6c9" providerId="AD" clId="Web-{7CD95F75-1395-755B-3A5B-B676B7131FC7}" dt="2025-04-16T06:19:39.126" v="516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牧野 充希(MAKINO Atsuki)" userId="e1bb11f1-fc18-4a8c-a6ff-e197300cb8d1" providerId="ADAL" clId="{B4ACDB95-BA07-4F85-999C-5ADD128ACA0E}"/>
    <pc:docChg chg="modSld">
      <pc:chgData name="牧野 充希(MAKINO Atsuki)" userId="e1bb11f1-fc18-4a8c-a6ff-e197300cb8d1" providerId="ADAL" clId="{B4ACDB95-BA07-4F85-999C-5ADD128ACA0E}" dt="2025-04-30T09:27:26.110" v="51" actId="20577"/>
      <pc:docMkLst>
        <pc:docMk/>
      </pc:docMkLst>
      <pc:sldChg chg="modSp mod">
        <pc:chgData name="牧野 充希(MAKINO Atsuki)" userId="e1bb11f1-fc18-4a8c-a6ff-e197300cb8d1" providerId="ADAL" clId="{B4ACDB95-BA07-4F85-999C-5ADD128ACA0E}" dt="2025-04-30T09:27:26.110" v="51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B4ACDB95-BA07-4F85-999C-5ADD128ACA0E}" dt="2025-04-30T09:27:26.110" v="51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南 敦(MINAMI Atsushi)" userId="d3165040-e23c-45ef-af47-9418ec81b970" providerId="ADAL" clId="{D07F768C-E5F9-47B7-A9B7-6DDB89239B80}"/>
    <pc:docChg chg="undo custSel addSld delSld modSld sldOrd addSection delSection modSection">
      <pc:chgData name="南 敦(MINAMI Atsushi)" userId="d3165040-e23c-45ef-af47-9418ec81b970" providerId="ADAL" clId="{D07F768C-E5F9-47B7-A9B7-6DDB89239B80}" dt="2025-01-16T19:04:26.447" v="717" actId="20577"/>
      <pc:docMkLst>
        <pc:docMk/>
      </pc:docMkLst>
      <pc:sldChg chg="addSp delSp modSp add mod modClrScheme chgLayout">
        <pc:chgData name="南 敦(MINAMI Atsushi)" userId="d3165040-e23c-45ef-af47-9418ec81b970" providerId="ADAL" clId="{D07F768C-E5F9-47B7-A9B7-6DDB89239B80}" dt="2025-01-10T02:20:47.507" v="689" actId="20577"/>
        <pc:sldMkLst>
          <pc:docMk/>
          <pc:sldMk cId="1927059807" sldId="1764"/>
        </pc:sldMkLst>
        <pc:spChg chg="mod ord">
          <ac:chgData name="南 敦(MINAMI Atsushi)" userId="d3165040-e23c-45ef-af47-9418ec81b970" providerId="ADAL" clId="{D07F768C-E5F9-47B7-A9B7-6DDB89239B80}" dt="2025-01-09T17:37:03.761" v="581" actId="700"/>
          <ac:spMkLst>
            <pc:docMk/>
            <pc:sldMk cId="1927059807" sldId="1764"/>
            <ac:spMk id="5" creationId="{BE7313C8-2F30-4CC0-A171-28A0CD336245}"/>
          </ac:spMkLst>
        </pc:spChg>
        <pc:spChg chg="add del mod">
          <ac:chgData name="南 敦(MINAMI Atsushi)" userId="d3165040-e23c-45ef-af47-9418ec81b970" providerId="ADAL" clId="{D07F768C-E5F9-47B7-A9B7-6DDB89239B80}" dt="2025-01-09T17:24:22.785" v="380" actId="478"/>
          <ac:spMkLst>
            <pc:docMk/>
            <pc:sldMk cId="1927059807" sldId="1764"/>
            <ac:spMk id="9" creationId="{589D126C-B3A5-4BC7-F9D8-47A3A60DA746}"/>
          </ac:spMkLst>
        </pc:spChg>
        <pc:spChg chg="add del mod ord">
          <ac:chgData name="南 敦(MINAMI Atsushi)" userId="d3165040-e23c-45ef-af47-9418ec81b970" providerId="ADAL" clId="{D07F768C-E5F9-47B7-A9B7-6DDB89239B80}" dt="2025-01-09T17:31:24.186" v="501" actId="1076"/>
          <ac:spMkLst>
            <pc:docMk/>
            <pc:sldMk cId="1927059807" sldId="1764"/>
            <ac:spMk id="13" creationId="{C9D1F27F-4B0A-684E-8B2A-9709917657AA}"/>
          </ac:spMkLst>
        </pc:spChg>
        <pc:spChg chg="mod">
          <ac:chgData name="南 敦(MINAMI Atsushi)" userId="d3165040-e23c-45ef-af47-9418ec81b970" providerId="ADAL" clId="{D07F768C-E5F9-47B7-A9B7-6DDB89239B80}" dt="2025-01-10T02:20:47.507" v="689" actId="20577"/>
          <ac:spMkLst>
            <pc:docMk/>
            <pc:sldMk cId="1927059807" sldId="1764"/>
            <ac:spMk id="18" creationId="{045734C6-2283-9884-2A64-78EFE34E5FB9}"/>
          </ac:spMkLst>
        </pc:spChg>
        <pc:spChg chg="mod">
          <ac:chgData name="南 敦(MINAMI Atsushi)" userId="d3165040-e23c-45ef-af47-9418ec81b970" providerId="ADAL" clId="{D07F768C-E5F9-47B7-A9B7-6DDB89239B80}" dt="2025-01-09T17:17:17.043" v="305" actId="20577"/>
          <ac:spMkLst>
            <pc:docMk/>
            <pc:sldMk cId="1927059807" sldId="1764"/>
            <ac:spMk id="19" creationId="{F2A5B345-2BF3-1306-C701-19C71A83B96A}"/>
          </ac:spMkLst>
        </pc:spChg>
        <pc:spChg chg="mod">
          <ac:chgData name="南 敦(MINAMI Atsushi)" userId="d3165040-e23c-45ef-af47-9418ec81b970" providerId="ADAL" clId="{D07F768C-E5F9-47B7-A9B7-6DDB89239B80}" dt="2025-01-09T17:17:53.476" v="311" actId="20577"/>
          <ac:spMkLst>
            <pc:docMk/>
            <pc:sldMk cId="1927059807" sldId="1764"/>
            <ac:spMk id="21" creationId="{433C4577-EA22-DB12-2E98-B02340DD7E76}"/>
          </ac:spMkLst>
        </pc:spChg>
        <pc:graphicFrameChg chg="modGraphic">
          <ac:chgData name="南 敦(MINAMI Atsushi)" userId="d3165040-e23c-45ef-af47-9418ec81b970" providerId="ADAL" clId="{D07F768C-E5F9-47B7-A9B7-6DDB89239B80}" dt="2025-01-09T17:17:36.716" v="309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add del">
        <pc:chgData name="南 敦(MINAMI Atsushi)" userId="d3165040-e23c-45ef-af47-9418ec81b970" providerId="ADAL" clId="{D07F768C-E5F9-47B7-A9B7-6DDB89239B80}" dt="2025-01-09T17:14:03.710" v="261" actId="2696"/>
        <pc:sldMkLst>
          <pc:docMk/>
          <pc:sldMk cId="1003148262" sldId="1799"/>
        </pc:sldMkLst>
      </pc:sldChg>
      <pc:sldChg chg="delSp modSp add del mod ord">
        <pc:chgData name="南 敦(MINAMI Atsushi)" userId="d3165040-e23c-45ef-af47-9418ec81b970" providerId="ADAL" clId="{D07F768C-E5F9-47B7-A9B7-6DDB89239B80}" dt="2025-01-16T19:04:26.447" v="717" actId="20577"/>
        <pc:sldMkLst>
          <pc:docMk/>
          <pc:sldMk cId="786981567" sldId="1800"/>
        </pc:sldMkLst>
        <pc:spChg chg="del">
          <ac:chgData name="南 敦(MINAMI Atsushi)" userId="d3165040-e23c-45ef-af47-9418ec81b970" providerId="ADAL" clId="{D07F768C-E5F9-47B7-A9B7-6DDB89239B80}" dt="2025-01-16T16:41:54.901" v="690" actId="478"/>
          <ac:spMkLst>
            <pc:docMk/>
            <pc:sldMk cId="786981567" sldId="1800"/>
            <ac:spMk id="4" creationId="{12809128-2959-884E-4E45-A5144B64E61E}"/>
          </ac:spMkLst>
        </pc:spChg>
        <pc:spChg chg="mod">
          <ac:chgData name="南 敦(MINAMI Atsushi)" userId="d3165040-e23c-45ef-af47-9418ec81b970" providerId="ADAL" clId="{D07F768C-E5F9-47B7-A9B7-6DDB89239B80}" dt="2025-01-16T19:04:26.447" v="71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D07F768C-E5F9-47B7-A9B7-6DDB89239B80}" dt="2025-01-09T17:29:33.436" v="468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D07F768C-E5F9-47B7-A9B7-6DDB89239B80}" dt="2025-01-09T17:28:39.027" v="456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南 敦(MINAMI Atsushi)" userId="d3165040-e23c-45ef-af47-9418ec81b970" providerId="ADAL" clId="{D07F768C-E5F9-47B7-A9B7-6DDB89239B80}" dt="2025-01-09T17:29:33.436" v="468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28:55.773" v="459" actId="20577"/>
          <ac:spMkLst>
            <pc:docMk/>
            <pc:sldMk cId="2174853723" sldId="1802"/>
            <ac:spMk id="28" creationId="{D0A09A31-B145-CE29-6B63-3AE0379CE7ED}"/>
          </ac:spMkLst>
        </pc:spChg>
      </pc:sldChg>
      <pc:sldChg chg="delSp modSp add del mod">
        <pc:chgData name="南 敦(MINAMI Atsushi)" userId="d3165040-e23c-45ef-af47-9418ec81b970" providerId="ADAL" clId="{D07F768C-E5F9-47B7-A9B7-6DDB89239B80}" dt="2025-01-09T17:36:35.461" v="579" actId="2696"/>
        <pc:sldMkLst>
          <pc:docMk/>
          <pc:sldMk cId="620634248" sldId="1804"/>
        </pc:sldMkLst>
        <pc:spChg chg="mod">
          <ac:chgData name="南 敦(MINAMI Atsushi)" userId="d3165040-e23c-45ef-af47-9418ec81b970" providerId="ADAL" clId="{D07F768C-E5F9-47B7-A9B7-6DDB89239B80}" dt="2025-01-09T17:06:58.293" v="90" actId="1036"/>
          <ac:spMkLst>
            <pc:docMk/>
            <pc:sldMk cId="620634248" sldId="1804"/>
            <ac:spMk id="2" creationId="{5F2D8408-1CA6-F273-B2C3-DAE07E0C2F44}"/>
          </ac:spMkLst>
        </pc:spChg>
        <pc:spChg chg="del">
          <ac:chgData name="南 敦(MINAMI Atsushi)" userId="d3165040-e23c-45ef-af47-9418ec81b970" providerId="ADAL" clId="{D07F768C-E5F9-47B7-A9B7-6DDB89239B80}" dt="2025-01-09T17:04:42.878" v="6" actId="478"/>
          <ac:spMkLst>
            <pc:docMk/>
            <pc:sldMk cId="620634248" sldId="1804"/>
            <ac:spMk id="3" creationId="{13CF5F74-B0CC-0804-84B5-AA312627120F}"/>
          </ac:spMkLst>
        </pc:spChg>
        <pc:spChg chg="mod">
          <ac:chgData name="南 敦(MINAMI Atsushi)" userId="d3165040-e23c-45ef-af47-9418ec81b970" providerId="ADAL" clId="{D07F768C-E5F9-47B7-A9B7-6DDB89239B80}" dt="2025-01-09T17:12:49.626" v="248" actId="20577"/>
          <ac:spMkLst>
            <pc:docMk/>
            <pc:sldMk cId="620634248" sldId="1804"/>
            <ac:spMk id="5" creationId="{81D1DB79-8583-A99E-540E-8CB4E3888F88}"/>
          </ac:spMkLst>
        </pc:spChg>
      </pc:sldChg>
      <pc:sldChg chg="modSp add mod">
        <pc:chgData name="南 敦(MINAMI Atsushi)" userId="d3165040-e23c-45ef-af47-9418ec81b970" providerId="ADAL" clId="{D07F768C-E5F9-47B7-A9B7-6DDB89239B80}" dt="2025-01-09T17:19:27.517" v="313" actId="20577"/>
        <pc:sldMkLst>
          <pc:docMk/>
          <pc:sldMk cId="3494048592" sldId="1805"/>
        </pc:sldMkLst>
        <pc:graphicFrameChg chg="modGraphic">
          <ac:chgData name="南 敦(MINAMI Atsushi)" userId="d3165040-e23c-45ef-af47-9418ec81b970" providerId="ADAL" clId="{D07F768C-E5F9-47B7-A9B7-6DDB89239B80}" dt="2025-01-09T17:19:27.517" v="31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add mod">
        <pc:chgData name="南 敦(MINAMI Atsushi)" userId="d3165040-e23c-45ef-af47-9418ec81b970" providerId="ADAL" clId="{D07F768C-E5F9-47B7-A9B7-6DDB89239B80}" dt="2025-01-09T17:26:37.201" v="421" actId="14100"/>
        <pc:sldMkLst>
          <pc:docMk/>
          <pc:sldMk cId="1539400230" sldId="1806"/>
        </pc:sldMkLst>
        <pc:spChg chg="del">
          <ac:chgData name="南 敦(MINAMI Atsushi)" userId="d3165040-e23c-45ef-af47-9418ec81b970" providerId="ADAL" clId="{D07F768C-E5F9-47B7-A9B7-6DDB89239B80}" dt="2025-01-09T17:23:02.723" v="363" actId="478"/>
          <ac:spMkLst>
            <pc:docMk/>
            <pc:sldMk cId="1539400230" sldId="1806"/>
            <ac:spMk id="15" creationId="{AB215C18-256D-7CEE-E7C8-D402A51CD974}"/>
          </ac:spMkLst>
        </pc:spChg>
        <pc:spChg chg="add mod ord">
          <ac:chgData name="南 敦(MINAMI Atsushi)" userId="d3165040-e23c-45ef-af47-9418ec81b970" providerId="ADAL" clId="{D07F768C-E5F9-47B7-A9B7-6DDB89239B80}" dt="2025-01-09T17:26:37.201" v="421" actId="14100"/>
          <ac:spMkLst>
            <pc:docMk/>
            <pc:sldMk cId="1539400230" sldId="1806"/>
            <ac:spMk id="16" creationId="{5CCDF56A-7F17-7705-D560-EFADB4C3FC8E}"/>
          </ac:spMkLst>
        </pc:spChg>
        <pc:spChg chg="mod">
          <ac:chgData name="南 敦(MINAMI Atsushi)" userId="d3165040-e23c-45ef-af47-9418ec81b970" providerId="ADAL" clId="{D07F768C-E5F9-47B7-A9B7-6DDB89239B80}" dt="2025-01-09T17:20:09.932" v="334" actId="20577"/>
          <ac:spMkLst>
            <pc:docMk/>
            <pc:sldMk cId="1539400230" sldId="1806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19:51.782" v="322" actId="20577"/>
          <ac:spMkLst>
            <pc:docMk/>
            <pc:sldMk cId="1539400230" sldId="1806"/>
            <ac:spMk id="25" creationId="{6E42A63F-2890-CD55-BF86-10D64ABE91F0}"/>
          </ac:spMkLst>
        </pc:spChg>
        <pc:spChg chg="mod">
          <ac:chgData name="南 敦(MINAMI Atsushi)" userId="d3165040-e23c-45ef-af47-9418ec81b970" providerId="ADAL" clId="{D07F768C-E5F9-47B7-A9B7-6DDB89239B80}" dt="2025-01-09T17:20:19.721" v="337" actId="20577"/>
          <ac:spMkLst>
            <pc:docMk/>
            <pc:sldMk cId="1539400230" sldId="1806"/>
            <ac:spMk id="28" creationId="{D0A09A31-B145-CE29-6B63-3AE0379CE7ED}"/>
          </ac:spMkLst>
        </pc:spChg>
        <pc:graphicFrameChg chg="modGraphic">
          <ac:chgData name="南 敦(MINAMI Atsushi)" userId="d3165040-e23c-45ef-af47-9418ec81b970" providerId="ADAL" clId="{D07F768C-E5F9-47B7-A9B7-6DDB89239B80}" dt="2025-01-09T17:19:35.165" v="31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09T17:21:07.263" v="353" actId="20577"/>
        <pc:sldMkLst>
          <pc:docMk/>
          <pc:sldMk cId="3361803510" sldId="1807"/>
        </pc:sldMkLst>
        <pc:spChg chg="mod">
          <ac:chgData name="南 敦(MINAMI Atsushi)" userId="d3165040-e23c-45ef-af47-9418ec81b970" providerId="ADAL" clId="{D07F768C-E5F9-47B7-A9B7-6DDB89239B80}" dt="2025-01-09T17:21:07.263" v="353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modSp add mod modClrScheme chgLayout">
        <pc:chgData name="南 敦(MINAMI Atsushi)" userId="d3165040-e23c-45ef-af47-9418ec81b970" providerId="ADAL" clId="{D07F768C-E5F9-47B7-A9B7-6DDB89239B80}" dt="2025-01-09T17:36:58.343" v="580" actId="700"/>
        <pc:sldMkLst>
          <pc:docMk/>
          <pc:sldMk cId="2260495983" sldId="1808"/>
        </pc:sldMkLst>
        <pc:spChg chg="mod ord">
          <ac:chgData name="南 敦(MINAMI Atsushi)" userId="d3165040-e23c-45ef-af47-9418ec81b970" providerId="ADAL" clId="{D07F768C-E5F9-47B7-A9B7-6DDB89239B80}" dt="2025-01-09T17:36:58.343" v="580" actId="700"/>
          <ac:spMkLst>
            <pc:docMk/>
            <pc:sldMk cId="2260495983" sldId="1808"/>
            <ac:spMk id="5" creationId="{BE7313C8-2F30-4CC0-A171-28A0CD336245}"/>
          </ac:spMkLst>
        </pc:spChg>
        <pc:graphicFrameChg chg="modGraphic">
          <ac:chgData name="南 敦(MINAMI Atsushi)" userId="d3165040-e23c-45ef-af47-9418ec81b970" providerId="ADAL" clId="{D07F768C-E5F9-47B7-A9B7-6DDB89239B80}" dt="2025-01-09T17:21:38.093" v="355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10T02:20:20.758" v="680" actId="20577"/>
        <pc:sldMkLst>
          <pc:docMk/>
          <pc:sldMk cId="2538732313" sldId="1809"/>
        </pc:sldMkLst>
        <pc:spChg chg="mod">
          <ac:chgData name="南 敦(MINAMI Atsushi)" userId="d3165040-e23c-45ef-af47-9418ec81b970" providerId="ADAL" clId="{D07F768C-E5F9-47B7-A9B7-6DDB89239B80}" dt="2025-01-10T02:20:20.758" v="680" actId="20577"/>
          <ac:spMkLst>
            <pc:docMk/>
            <pc:sldMk cId="2538732313" sldId="1809"/>
            <ac:spMk id="8" creationId="{D7FDF8F7-1165-88FF-2A7D-D571C1D4BFAE}"/>
          </ac:spMkLst>
        </pc:spChg>
      </pc:sldChg>
      <pc:sldChg chg="add del">
        <pc:chgData name="南 敦(MINAMI Atsushi)" userId="d3165040-e23c-45ef-af47-9418ec81b970" providerId="ADAL" clId="{D07F768C-E5F9-47B7-A9B7-6DDB89239B80}" dt="2025-01-10T02:13:13.281" v="654" actId="2696"/>
        <pc:sldMkLst>
          <pc:docMk/>
          <pc:sldMk cId="246833147" sldId="1810"/>
        </pc:sldMkLst>
      </pc:sldChg>
    </pc:docChg>
  </pc:docChgLst>
  <pc:docChgLst>
    <pc:chgData name="澤村 僚(SAWAMURA Ryo)" userId="4cfe6057-f08c-4400-b030-3b1cc012e179" providerId="ADAL" clId="{546E6E7F-BB68-41D2-9EC6-8BC240A9A6CE}"/>
    <pc:docChg chg="undo custSel modSld">
      <pc:chgData name="澤村 僚(SAWAMURA Ryo)" userId="4cfe6057-f08c-4400-b030-3b1cc012e179" providerId="ADAL" clId="{546E6E7F-BB68-41D2-9EC6-8BC240A9A6CE}" dt="2024-12-25T04:17:05.343" v="135" actId="20577"/>
      <pc:docMkLst>
        <pc:docMk/>
      </pc:docMkLst>
      <pc:sldChg chg="delSp modSp mod">
        <pc:chgData name="澤村 僚(SAWAMURA Ryo)" userId="4cfe6057-f08c-4400-b030-3b1cc012e179" providerId="ADAL" clId="{546E6E7F-BB68-41D2-9EC6-8BC240A9A6CE}" dt="2024-12-25T04:17:05.343" v="135" actId="20577"/>
        <pc:sldMkLst>
          <pc:docMk/>
          <pc:sldMk cId="1731062681" sldId="1801"/>
        </pc:sldMkLst>
        <pc:spChg chg="mod">
          <ac:chgData name="澤村 僚(SAWAMURA Ryo)" userId="4cfe6057-f08c-4400-b030-3b1cc012e179" providerId="ADAL" clId="{546E6E7F-BB68-41D2-9EC6-8BC240A9A6CE}" dt="2024-12-18T08:23:43.053" v="88" actId="1076"/>
          <ac:spMkLst>
            <pc:docMk/>
            <pc:sldMk cId="1731062681" sldId="1801"/>
            <ac:spMk id="9" creationId="{4EF196C3-6C2F-EAEC-23CC-6D7341178A1C}"/>
          </ac:spMkLst>
        </pc:spChg>
        <pc:spChg chg="del">
          <ac:chgData name="澤村 僚(SAWAMURA Ryo)" userId="4cfe6057-f08c-4400-b030-3b1cc012e179" providerId="ADAL" clId="{546E6E7F-BB68-41D2-9EC6-8BC240A9A6CE}" dt="2024-12-18T08:23:48.386" v="89" actId="478"/>
          <ac:spMkLst>
            <pc:docMk/>
            <pc:sldMk cId="1731062681" sldId="1801"/>
            <ac:spMk id="10" creationId="{35543A15-5B1D-8CB3-2CC6-E1EA7F2D4B43}"/>
          </ac:spMkLst>
        </pc:spChg>
        <pc:spChg chg="mod">
          <ac:chgData name="澤村 僚(SAWAMURA Ryo)" userId="4cfe6057-f08c-4400-b030-3b1cc012e179" providerId="ADAL" clId="{546E6E7F-BB68-41D2-9EC6-8BC240A9A6CE}" dt="2024-12-25T04:17:05.343" v="135" actId="20577"/>
          <ac:spMkLst>
            <pc:docMk/>
            <pc:sldMk cId="1731062681" sldId="1801"/>
            <ac:spMk id="23" creationId="{E4C1C023-A7F7-8307-3383-F4CAF1FF2658}"/>
          </ac:spMkLst>
        </pc:spChg>
        <pc:graphicFrameChg chg="mod modGraphic">
          <ac:chgData name="澤村 僚(SAWAMURA Ryo)" userId="4cfe6057-f08c-4400-b030-3b1cc012e179" providerId="ADAL" clId="{546E6E7F-BB68-41D2-9EC6-8BC240A9A6CE}" dt="2024-12-18T07:57:03.806" v="87" actId="255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E43C68B4-1EC5-4584-9729-1AE755622A99}"/>
    <pc:docChg chg="modSld">
      <pc:chgData name="澤村 僚(SAWAMURA Ryo)" userId="4cfe6057-f08c-4400-b030-3b1cc012e179" providerId="ADAL" clId="{E43C68B4-1EC5-4584-9729-1AE755622A99}" dt="2024-12-26T01:08:21.611" v="29" actId="1076"/>
      <pc:docMkLst>
        <pc:docMk/>
      </pc:docMkLst>
      <pc:sldChg chg="addSp modSp mod">
        <pc:chgData name="澤村 僚(SAWAMURA Ryo)" userId="4cfe6057-f08c-4400-b030-3b1cc012e179" providerId="ADAL" clId="{E43C68B4-1EC5-4584-9729-1AE755622A99}" dt="2024-12-26T01:08:21.611" v="29" actId="1076"/>
        <pc:sldMkLst>
          <pc:docMk/>
          <pc:sldMk cId="786981567" sldId="1800"/>
        </pc:sldMkLst>
        <pc:spChg chg="mod">
          <ac:chgData name="澤村 僚(SAWAMURA Ryo)" userId="4cfe6057-f08c-4400-b030-3b1cc012e179" providerId="ADAL" clId="{E43C68B4-1EC5-4584-9729-1AE755622A99}" dt="2024-12-25T18:08:16.443" v="8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澤村 僚(SAWAMURA Ryo)" userId="4cfe6057-f08c-4400-b030-3b1cc012e179" providerId="ADAL" clId="{E43C68B4-1EC5-4584-9729-1AE755622A99}" dt="2024-12-25T18:08:34.326" v="15" actId="14100"/>
          <ac:spMkLst>
            <pc:docMk/>
            <pc:sldMk cId="786981567" sldId="1800"/>
            <ac:spMk id="3" creationId="{13CF5F74-B0CC-0804-84B5-AA312627120F}"/>
          </ac:spMkLst>
        </pc:spChg>
        <pc:spChg chg="add mod">
          <ac:chgData name="澤村 僚(SAWAMURA Ryo)" userId="4cfe6057-f08c-4400-b030-3b1cc012e179" providerId="ADAL" clId="{E43C68B4-1EC5-4584-9729-1AE755622A99}" dt="2024-12-26T01:08:21.611" v="29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西村 笙平(NISHIMURA Shohei)" userId="S::shohei.nishimura.z3c@cas.go.jp::d08d2c33-9814-43fe-9d7b-ea3e5d006c86" providerId="AD" clId="Web-{6846CCBD-6F92-2876-284D-90CED584EEE6}"/>
    <pc:docChg chg="modSld">
      <pc:chgData name="西村 笙平(NISHIMURA Shohei)" userId="S::shohei.nishimura.z3c@cas.go.jp::d08d2c33-9814-43fe-9d7b-ea3e5d006c86" providerId="AD" clId="Web-{6846CCBD-6F92-2876-284D-90CED584EEE6}" dt="2025-04-18T02:05:03.415" v="1"/>
      <pc:docMkLst>
        <pc:docMk/>
      </pc:docMkLst>
      <pc:sldChg chg="modSp">
        <pc:chgData name="西村 笙平(NISHIMURA Shohei)" userId="S::shohei.nishimura.z3c@cas.go.jp::d08d2c33-9814-43fe-9d7b-ea3e5d006c86" providerId="AD" clId="Web-{6846CCBD-6F92-2876-284D-90CED584EEE6}" dt="2025-04-18T02:05:03.415" v="1"/>
        <pc:sldMkLst>
          <pc:docMk/>
          <pc:sldMk cId="1731062681" sldId="1801"/>
        </pc:sldMkLst>
        <pc:graphicFrameChg chg="mod modGraphic">
          <ac:chgData name="西村 笙平(NISHIMURA Shohei)" userId="S::shohei.nishimura.z3c@cas.go.jp::d08d2c33-9814-43fe-9d7b-ea3e5d006c86" providerId="AD" clId="Web-{6846CCBD-6F92-2876-284D-90CED584EEE6}" dt="2025-04-18T02:05:03.415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南 敦(MINAMI Atsushi)" userId="d3165040-e23c-45ef-af47-9418ec81b970" providerId="ADAL" clId="{90CFA07F-E5B3-4888-93A7-C87228327420}"/>
    <pc:docChg chg="undo custSel modSld">
      <pc:chgData name="南 敦(MINAMI Atsushi)" userId="d3165040-e23c-45ef-af47-9418ec81b970" providerId="ADAL" clId="{90CFA07F-E5B3-4888-93A7-C87228327420}" dt="2024-12-18T08:56:13.554" v="2619" actId="20577"/>
      <pc:docMkLst>
        <pc:docMk/>
      </pc:docMkLst>
      <pc:sldChg chg="addSp delSp modSp mod">
        <pc:chgData name="南 敦(MINAMI Atsushi)" userId="d3165040-e23c-45ef-af47-9418ec81b970" providerId="ADAL" clId="{90CFA07F-E5B3-4888-93A7-C87228327420}" dt="2024-12-18T03:50:23.375" v="938" actId="478"/>
        <pc:sldMkLst>
          <pc:docMk/>
          <pc:sldMk cId="786981567" sldId="1800"/>
        </pc:sldMkLst>
        <pc:spChg chg="mod">
          <ac:chgData name="南 敦(MINAMI Atsushi)" userId="d3165040-e23c-45ef-af47-9418ec81b970" providerId="ADAL" clId="{90CFA07F-E5B3-4888-93A7-C87228327420}" dt="2024-12-18T03:03:30.277" v="32" actId="20577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南 敦(MINAMI Atsushi)" userId="d3165040-e23c-45ef-af47-9418ec81b970" providerId="ADAL" clId="{90CFA07F-E5B3-4888-93A7-C87228327420}" dt="2024-12-18T03:03:34.615" v="39" actId="20577"/>
          <ac:spMkLst>
            <pc:docMk/>
            <pc:sldMk cId="786981567" sldId="1800"/>
            <ac:spMk id="3" creationId="{13CF5F74-B0CC-0804-84B5-AA312627120F}"/>
          </ac:spMkLst>
        </pc:spChg>
        <pc:spChg chg="add del mod">
          <ac:chgData name="南 敦(MINAMI Atsushi)" userId="d3165040-e23c-45ef-af47-9418ec81b970" providerId="ADAL" clId="{90CFA07F-E5B3-4888-93A7-C87228327420}" dt="2024-12-18T03:50:23.375" v="938" actId="478"/>
          <ac:spMkLst>
            <pc:docMk/>
            <pc:sldMk cId="786981567" sldId="1800"/>
            <ac:spMk id="4" creationId="{4DB9B580-14CF-685F-BC2D-535B73D9F951}"/>
          </ac:spMkLst>
        </pc:spChg>
        <pc:spChg chg="mod">
          <ac:chgData name="南 敦(MINAMI Atsushi)" userId="d3165040-e23c-45ef-af47-9418ec81b970" providerId="ADAL" clId="{90CFA07F-E5B3-4888-93A7-C87228327420}" dt="2024-12-18T03:50:18.647" v="93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90CFA07F-E5B3-4888-93A7-C87228327420}" dt="2024-12-18T08:56:02.514" v="2615" actId="20577"/>
        <pc:sldMkLst>
          <pc:docMk/>
          <pc:sldMk cId="1731062681" sldId="1801"/>
        </pc:sldMkLst>
        <pc:spChg chg="mod">
          <ac:chgData name="南 敦(MINAMI Atsushi)" userId="d3165040-e23c-45ef-af47-9418ec81b970" providerId="ADAL" clId="{90CFA07F-E5B3-4888-93A7-C87228327420}" dt="2024-12-18T03:14:49.506" v="735" actId="1076"/>
          <ac:spMkLst>
            <pc:docMk/>
            <pc:sldMk cId="1731062681" sldId="1801"/>
            <ac:spMk id="10" creationId="{35543A15-5B1D-8CB3-2CC6-E1EA7F2D4B43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02.514" v="261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8:56:13.554" v="2619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90CFA07F-E5B3-4888-93A7-C87228327420}" dt="2024-12-18T08:55:14.897" v="2600" actId="14100"/>
          <ac:spMkLst>
            <pc:docMk/>
            <pc:sldMk cId="2174853723" sldId="1802"/>
            <ac:spMk id="3" creationId="{C8A3523E-49B5-64AD-925C-2E71989F6FC8}"/>
          </ac:spMkLst>
        </pc:spChg>
        <pc:spChg chg="mod">
          <ac:chgData name="南 敦(MINAMI Atsushi)" userId="d3165040-e23c-45ef-af47-9418ec81b970" providerId="ADAL" clId="{90CFA07F-E5B3-4888-93A7-C87228327420}" dt="2024-12-18T08:55:08.092" v="2599" actId="103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南 敦(MINAMI Atsushi)" userId="d3165040-e23c-45ef-af47-9418ec81b970" providerId="ADAL" clId="{90CFA07F-E5B3-4888-93A7-C87228327420}" dt="2024-12-18T08:55:19.865" v="2606" actId="1036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南 敦(MINAMI Atsushi)" userId="d3165040-e23c-45ef-af47-9418ec81b970" providerId="ADAL" clId="{90CFA07F-E5B3-4888-93A7-C87228327420}" dt="2024-12-18T08:54:53.501" v="2590" actId="1036"/>
          <ac:spMkLst>
            <pc:docMk/>
            <pc:sldMk cId="2174853723" sldId="1802"/>
            <ac:spMk id="9" creationId="{4EF196C3-6C2F-EAEC-23CC-6D7341178A1C}"/>
          </ac:spMkLst>
        </pc:spChg>
        <pc:spChg chg="mod">
          <ac:chgData name="南 敦(MINAMI Atsushi)" userId="d3165040-e23c-45ef-af47-9418ec81b970" providerId="ADAL" clId="{90CFA07F-E5B3-4888-93A7-C87228327420}" dt="2024-12-18T08:55:24.043" v="2611" actId="1036"/>
          <ac:spMkLst>
            <pc:docMk/>
            <pc:sldMk cId="2174853723" sldId="1802"/>
            <ac:spMk id="11" creationId="{6BE75387-9B28-51BA-42FE-14811FC58A67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13.554" v="2619" actId="20577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4:08:36.882" v="965" actId="20577"/>
        <pc:sldMkLst>
          <pc:docMk/>
          <pc:sldMk cId="4155459258" sldId="1803"/>
        </pc:sldMkLst>
        <pc:spChg chg="mod">
          <ac:chgData name="南 敦(MINAMI Atsushi)" userId="d3165040-e23c-45ef-af47-9418ec81b970" providerId="ADAL" clId="{90CFA07F-E5B3-4888-93A7-C87228327420}" dt="2024-12-18T04:08:06.130" v="951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Graphic">
          <ac:chgData name="南 敦(MINAMI Atsushi)" userId="d3165040-e23c-45ef-af47-9418ec81b970" providerId="ADAL" clId="{90CFA07F-E5B3-4888-93A7-C87228327420}" dt="2024-12-18T04:08:36.882" v="965" actId="20577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</pc:docChg>
  </pc:docChgLst>
  <pc:docChgLst>
    <pc:chgData name="牧野 充希(MAKINO Atsuki)" userId="e1bb11f1-fc18-4a8c-a6ff-e197300cb8d1" providerId="ADAL" clId="{3D355F57-3802-40E8-A1F1-61B8B41E18AD}"/>
    <pc:docChg chg="undo custSel addSld delSld modSld sldOrd addSection modSection">
      <pc:chgData name="牧野 充希(MAKINO Atsuki)" userId="e1bb11f1-fc18-4a8c-a6ff-e197300cb8d1" providerId="ADAL" clId="{3D355F57-3802-40E8-A1F1-61B8B41E18AD}" dt="2025-04-22T13:35:30.292" v="756" actId="20577"/>
      <pc:docMkLst>
        <pc:docMk/>
      </pc:docMkLst>
      <pc:sldChg chg="addSp modSp del mod">
        <pc:chgData name="牧野 充希(MAKINO Atsuki)" userId="e1bb11f1-fc18-4a8c-a6ff-e197300cb8d1" providerId="ADAL" clId="{3D355F57-3802-40E8-A1F1-61B8B41E18AD}" dt="2025-04-22T12:59:34.618" v="202" actId="2696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D355F57-3802-40E8-A1F1-61B8B41E18AD}" dt="2025-04-22T12:58:53.795" v="191" actId="20577"/>
          <ac:spMkLst>
            <pc:docMk/>
            <pc:sldMk cId="1927059807" sldId="1764"/>
            <ac:spMk id="10" creationId="{7D56EA1E-EC7F-C9A7-E36B-EE9BDC7082B1}"/>
          </ac:spMkLst>
        </pc:spChg>
        <pc:spChg chg="add mod">
          <ac:chgData name="牧野 充希(MAKINO Atsuki)" userId="e1bb11f1-fc18-4a8c-a6ff-e197300cb8d1" providerId="ADAL" clId="{3D355F57-3802-40E8-A1F1-61B8B41E18AD}" dt="2025-04-22T12:58:28.202" v="185"/>
          <ac:spMkLst>
            <pc:docMk/>
            <pc:sldMk cId="1927059807" sldId="1764"/>
            <ac:spMk id="18" creationId="{70FB8389-9860-15EF-1957-8277EED79FF0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5:04.839" v="63" actId="20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6:23.183" v="5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3D355F57-3802-40E8-A1F1-61B8B41E18AD}" dt="2025-04-22T13:26:23.183" v="5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13:02.318" v="370" actId="1036"/>
        <pc:sldMkLst>
          <pc:docMk/>
          <pc:sldMk cId="1731062681" sldId="1801"/>
        </pc:sldMkLst>
        <pc:spChg chg="mod">
          <ac:chgData name="牧野 充希(MAKINO Atsuki)" userId="e1bb11f1-fc18-4a8c-a6ff-e197300cb8d1" providerId="ADAL" clId="{3D355F57-3802-40E8-A1F1-61B8B41E18AD}" dt="2025-04-22T13:13:02.318" v="370" actId="1036"/>
          <ac:spMkLst>
            <pc:docMk/>
            <pc:sldMk cId="1731062681" sldId="1801"/>
            <ac:spMk id="9" creationId="{4EF196C3-6C2F-EAEC-23CC-6D7341178A1C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7:07.805" v="541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D355F57-3802-40E8-A1F1-61B8B41E18AD}" dt="2025-04-22T13:27:07.805" v="541" actId="20577"/>
          <ac:spMkLst>
            <pc:docMk/>
            <pc:sldMk cId="4155459258" sldId="1803"/>
            <ac:spMk id="8" creationId="{D7FDF8F7-1165-88FF-2A7D-D571C1D4BFAE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0:25.377" v="39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D355F57-3802-40E8-A1F1-61B8B41E18AD}" dt="2025-04-22T13:13:25.231" v="391" actId="1036"/>
          <ac:spMkLst>
            <pc:docMk/>
            <pc:sldMk cId="3494048592" sldId="1805"/>
            <ac:spMk id="9" creationId="{4EF196C3-6C2F-EAEC-23CC-6D7341178A1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25.377" v="39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0:34.347" v="395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D355F57-3802-40E8-A1F1-61B8B41E18AD}" dt="2025-04-22T13:00:31.951" v="231" actId="1076"/>
          <ac:spMkLst>
            <pc:docMk/>
            <pc:sldMk cId="1539400230" sldId="1806"/>
            <ac:spMk id="2" creationId="{7848149B-D4FA-B760-5D11-F1A5E4E7DF97}"/>
          </ac:spMkLst>
        </pc:spChg>
        <pc:spChg chg="mod">
          <ac:chgData name="牧野 充希(MAKINO Atsuki)" userId="e1bb11f1-fc18-4a8c-a6ff-e197300cb8d1" providerId="ADAL" clId="{3D355F57-3802-40E8-A1F1-61B8B41E18AD}" dt="2025-04-22T13:05:30.485" v="356" actId="14100"/>
          <ac:spMkLst>
            <pc:docMk/>
            <pc:sldMk cId="1539400230" sldId="1806"/>
            <ac:spMk id="4" creationId="{79F07E1F-BD8A-6EF9-8286-94C1A647960B}"/>
          </ac:spMkLst>
        </pc:spChg>
        <pc:spChg chg="mod">
          <ac:chgData name="牧野 充希(MAKINO Atsuki)" userId="e1bb11f1-fc18-4a8c-a6ff-e197300cb8d1" providerId="ADAL" clId="{3D355F57-3802-40E8-A1F1-61B8B41E18AD}" dt="2025-04-22T13:05:24.815" v="354" actId="1076"/>
          <ac:spMkLst>
            <pc:docMk/>
            <pc:sldMk cId="1539400230" sldId="1806"/>
            <ac:spMk id="7" creationId="{3FB4849D-60FC-271F-FD2C-2270B52FDA46}"/>
          </ac:spMkLst>
        </pc:spChg>
        <pc:spChg chg="mod">
          <ac:chgData name="牧野 充希(MAKINO Atsuki)" userId="e1bb11f1-fc18-4a8c-a6ff-e197300cb8d1" providerId="ADAL" clId="{3D355F57-3802-40E8-A1F1-61B8B41E18AD}" dt="2025-04-22T13:13:10.741" v="382" actId="1036"/>
          <ac:spMkLst>
            <pc:docMk/>
            <pc:sldMk cId="1539400230" sldId="1806"/>
            <ac:spMk id="9" creationId="{4EF196C3-6C2F-EAEC-23CC-6D7341178A1C}"/>
          </ac:spMkLst>
        </pc:spChg>
        <pc:spChg chg="mod">
          <ac:chgData name="牧野 充希(MAKINO Atsuki)" userId="e1bb11f1-fc18-4a8c-a6ff-e197300cb8d1" providerId="ADAL" clId="{3D355F57-3802-40E8-A1F1-61B8B41E18AD}" dt="2025-04-22T13:05:27.452" v="355" actId="1076"/>
          <ac:spMkLst>
            <pc:docMk/>
            <pc:sldMk cId="1539400230" sldId="1806"/>
            <ac:spMk id="11" creationId="{6BE75387-9B28-51BA-42FE-14811FC58A67}"/>
          </ac:spMkLst>
        </pc:spChg>
        <pc:spChg chg="mod">
          <ac:chgData name="牧野 充希(MAKINO Atsuki)" userId="e1bb11f1-fc18-4a8c-a6ff-e197300cb8d1" providerId="ADAL" clId="{3D355F57-3802-40E8-A1F1-61B8B41E18AD}" dt="2025-04-22T13:05:37.462" v="357" actId="1076"/>
          <ac:spMkLst>
            <pc:docMk/>
            <pc:sldMk cId="1539400230" sldId="1806"/>
            <ac:spMk id="13" creationId="{E337FF87-CDFB-2557-A7CD-69F4779D6DF2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34.347" v="39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24.920" v="750" actId="20577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3D355F57-3802-40E8-A1F1-61B8B41E18AD}" dt="2025-04-22T13:35:24.920" v="750" actId="20577"/>
          <ac:spMkLst>
            <pc:docMk/>
            <pc:sldMk cId="3361803510" sldId="1807"/>
            <ac:spMk id="8" creationId="{D7FDF8F7-1165-88FF-2A7D-D571C1D4BFAE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1:30.322" v="2" actId="20577"/>
          <ac:graphicFrameMkLst>
            <pc:docMk/>
            <pc:sldMk cId="3361803510" sldId="1807"/>
            <ac:graphicFrameMk id="11" creationId="{ACF7D667-AD41-DFCA-B65A-E63FABE01CF7}"/>
          </ac:graphicFrameMkLst>
        </pc:graphicFrameChg>
      </pc:sldChg>
      <pc:sldChg chg="addSp delSp modSp mod">
        <pc:chgData name="牧野 充希(MAKINO Atsuki)" userId="e1bb11f1-fc18-4a8c-a6ff-e197300cb8d1" providerId="ADAL" clId="{3D355F57-3802-40E8-A1F1-61B8B41E18AD}" dt="2025-04-22T13:34:35.666" v="727" actId="20577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D355F57-3802-40E8-A1F1-61B8B41E18AD}" dt="2025-04-22T13:22:59.295" v="423" actId="1076"/>
          <ac:spMkLst>
            <pc:docMk/>
            <pc:sldMk cId="2260495983" sldId="1808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0.322" v="232" actId="478"/>
          <ac:spMkLst>
            <pc:docMk/>
            <pc:sldMk cId="2260495983" sldId="1808"/>
            <ac:spMk id="4" creationId="{14406E2A-5AD1-7701-3F05-846C7E4F2E70}"/>
          </ac:spMkLst>
        </pc:spChg>
        <pc:spChg chg="add del mod">
          <ac:chgData name="牧野 充希(MAKINO Atsuki)" userId="e1bb11f1-fc18-4a8c-a6ff-e197300cb8d1" providerId="ADAL" clId="{3D355F57-3802-40E8-A1F1-61B8B41E18AD}" dt="2025-04-22T13:00:56.885" v="246" actId="478"/>
          <ac:spMkLst>
            <pc:docMk/>
            <pc:sldMk cId="2260495983" sldId="1808"/>
            <ac:spMk id="8" creationId="{ED115C34-24B9-AF23-80D7-30B34FAF00A3}"/>
          </ac:spMkLst>
        </pc:spChg>
        <pc:spChg chg="add mod">
          <ac:chgData name="牧野 充希(MAKINO Atsuki)" userId="e1bb11f1-fc18-4a8c-a6ff-e197300cb8d1" providerId="ADAL" clId="{3D355F57-3802-40E8-A1F1-61B8B41E18AD}" dt="2025-04-22T13:33:30.285" v="702" actId="14100"/>
          <ac:spMkLst>
            <pc:docMk/>
            <pc:sldMk cId="2260495983" sldId="1808"/>
            <ac:spMk id="10" creationId="{157B9238-C8F7-6EF9-E7F1-5D866F3F3428}"/>
          </ac:spMkLst>
        </pc:spChg>
        <pc:spChg chg="add mod">
          <ac:chgData name="牧野 充希(MAKINO Atsuki)" userId="e1bb11f1-fc18-4a8c-a6ff-e197300cb8d1" providerId="ADAL" clId="{3D355F57-3802-40E8-A1F1-61B8B41E18AD}" dt="2025-04-22T13:34:06.580" v="717" actId="14100"/>
          <ac:spMkLst>
            <pc:docMk/>
            <pc:sldMk cId="2260495983" sldId="1808"/>
            <ac:spMk id="11" creationId="{A6FEC48D-2192-B6A1-7819-F99A0FB8E3C8}"/>
          </ac:spMkLst>
        </pc:spChg>
        <pc:spChg chg="add mod">
          <ac:chgData name="牧野 充希(MAKINO Atsuki)" userId="e1bb11f1-fc18-4a8c-a6ff-e197300cb8d1" providerId="ADAL" clId="{3D355F57-3802-40E8-A1F1-61B8B41E18AD}" dt="2025-04-22T13:34:02.450" v="716" actId="1076"/>
          <ac:spMkLst>
            <pc:docMk/>
            <pc:sldMk cId="2260495983" sldId="1808"/>
            <ac:spMk id="12" creationId="{559C4F27-F4B5-2A27-74B9-383B1100DE2C}"/>
          </ac:spMkLst>
        </pc:spChg>
        <pc:spChg chg="add mod">
          <ac:chgData name="牧野 充希(MAKINO Atsuki)" userId="e1bb11f1-fc18-4a8c-a6ff-e197300cb8d1" providerId="ADAL" clId="{3D355F57-3802-40E8-A1F1-61B8B41E18AD}" dt="2025-04-22T13:34:09.614" v="718" actId="1076"/>
          <ac:spMkLst>
            <pc:docMk/>
            <pc:sldMk cId="2260495983" sldId="1808"/>
            <ac:spMk id="13" creationId="{69EA179D-135A-FAD4-A016-A9409BECFC56}"/>
          </ac:spMkLst>
        </pc:spChg>
        <pc:spChg chg="add mod">
          <ac:chgData name="牧野 充希(MAKINO Atsuki)" userId="e1bb11f1-fc18-4a8c-a6ff-e197300cb8d1" providerId="ADAL" clId="{3D355F57-3802-40E8-A1F1-61B8B41E18AD}" dt="2025-04-22T13:23:56.242" v="449"/>
          <ac:spMkLst>
            <pc:docMk/>
            <pc:sldMk cId="2260495983" sldId="1808"/>
            <ac:spMk id="14" creationId="{E1BDA46B-F95C-B35E-526E-606580E2D4E5}"/>
          </ac:spMkLst>
        </pc:spChg>
        <pc:spChg chg="add mod">
          <ac:chgData name="牧野 充希(MAKINO Atsuki)" userId="e1bb11f1-fc18-4a8c-a6ff-e197300cb8d1" providerId="ADAL" clId="{3D355F57-3802-40E8-A1F1-61B8B41E18AD}" dt="2025-04-22T13:24:03.575" v="452"/>
          <ac:spMkLst>
            <pc:docMk/>
            <pc:sldMk cId="2260495983" sldId="1808"/>
            <ac:spMk id="15" creationId="{1F155885-71BB-9310-E93B-04FF3A0A0F63}"/>
          </ac:spMkLst>
        </pc:spChg>
        <pc:spChg chg="add mod">
          <ac:chgData name="牧野 充希(MAKINO Atsuki)" userId="e1bb11f1-fc18-4a8c-a6ff-e197300cb8d1" providerId="ADAL" clId="{3D355F57-3802-40E8-A1F1-61B8B41E18AD}" dt="2025-04-22T13:24:07.817" v="453"/>
          <ac:spMkLst>
            <pc:docMk/>
            <pc:sldMk cId="2260495983" sldId="1808"/>
            <ac:spMk id="16" creationId="{2E432413-53A4-DD33-03AE-F48731557CF1}"/>
          </ac:spMkLst>
        </pc:spChg>
        <pc:spChg chg="add mod">
          <ac:chgData name="牧野 充希(MAKINO Atsuki)" userId="e1bb11f1-fc18-4a8c-a6ff-e197300cb8d1" providerId="ADAL" clId="{3D355F57-3802-40E8-A1F1-61B8B41E18AD}" dt="2025-04-22T13:34:13.429" v="719" actId="1076"/>
          <ac:spMkLst>
            <pc:docMk/>
            <pc:sldMk cId="2260495983" sldId="1808"/>
            <ac:spMk id="17" creationId="{FC97EB71-27EF-8FB7-C9AF-E605B29740FD}"/>
          </ac:spMkLst>
        </pc:spChg>
        <pc:spChg chg="add mod">
          <ac:chgData name="牧野 充希(MAKINO Atsuki)" userId="e1bb11f1-fc18-4a8c-a6ff-e197300cb8d1" providerId="ADAL" clId="{3D355F57-3802-40E8-A1F1-61B8B41E18AD}" dt="2025-04-22T13:24:15.265" v="455"/>
          <ac:spMkLst>
            <pc:docMk/>
            <pc:sldMk cId="2260495983" sldId="1808"/>
            <ac:spMk id="18" creationId="{3A226DC6-F77C-3D6E-E0CE-BCE06EE3706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34:35.666" v="727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30.292" v="756" actId="20577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3D355F57-3802-40E8-A1F1-61B8B41E18AD}" dt="2025-04-22T13:35:30.292" v="756" actId="20577"/>
          <ac:spMkLst>
            <pc:docMk/>
            <pc:sldMk cId="2538732313" sldId="1809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D355F57-3802-40E8-A1F1-61B8B41E18AD}" dt="2025-04-22T13:35:00.603" v="736" actId="1076"/>
          <ac:spMkLst>
            <pc:docMk/>
            <pc:sldMk cId="2538732313" sldId="1809"/>
            <ac:spMk id="10" creationId="{E0B7F90D-41B6-9999-3DDD-7F90D5796ACB}"/>
          </ac:spMkLst>
        </pc:spChg>
        <pc:picChg chg="mod">
          <ac:chgData name="牧野 充希(MAKINO Atsuki)" userId="e1bb11f1-fc18-4a8c-a6ff-e197300cb8d1" providerId="ADAL" clId="{3D355F57-3802-40E8-A1F1-61B8B41E18AD}" dt="2025-04-22T13:35:00.603" v="736" actId="1076"/>
          <ac:picMkLst>
            <pc:docMk/>
            <pc:sldMk cId="2538732313" sldId="1809"/>
            <ac:picMk id="9" creationId="{E01DB259-E313-9794-669F-73279F11009F}"/>
          </ac:picMkLst>
        </pc:picChg>
      </pc:sldChg>
      <pc:sldChg chg="modSp mod">
        <pc:chgData name="牧野 充希(MAKINO Atsuki)" userId="e1bb11f1-fc18-4a8c-a6ff-e197300cb8d1" providerId="ADAL" clId="{3D355F57-3802-40E8-A1F1-61B8B41E18AD}" dt="2025-04-22T13:13:04.783" v="373" actId="103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3D355F57-3802-40E8-A1F1-61B8B41E18AD}" dt="2025-04-22T13:13:04.783" v="373" actId="1036"/>
          <ac:spMkLst>
            <pc:docMk/>
            <pc:sldMk cId="4036958067" sldId="1810"/>
            <ac:spMk id="9" creationId="{4EF196C3-6C2F-EAEC-23CC-6D7341178A1C}"/>
          </ac:spMkLst>
        </pc:spChg>
      </pc:sldChg>
      <pc:sldChg chg="addSp delSp modSp add del mod">
        <pc:chgData name="牧野 充希(MAKINO Atsuki)" userId="e1bb11f1-fc18-4a8c-a6ff-e197300cb8d1" providerId="ADAL" clId="{3D355F57-3802-40E8-A1F1-61B8B41E18AD}" dt="2025-04-22T13:24:17.355" v="456" actId="2696"/>
        <pc:sldMkLst>
          <pc:docMk/>
          <pc:sldMk cId="1836974008" sldId="1811"/>
        </pc:sldMkLst>
        <pc:spChg chg="mod">
          <ac:chgData name="牧野 充希(MAKINO Atsuki)" userId="e1bb11f1-fc18-4a8c-a6ff-e197300cb8d1" providerId="ADAL" clId="{3D355F57-3802-40E8-A1F1-61B8B41E18AD}" dt="2025-04-22T13:13:19.188" v="390" actId="1036"/>
          <ac:spMkLst>
            <pc:docMk/>
            <pc:sldMk cId="1836974008" sldId="1811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8.279" v="244" actId="478"/>
          <ac:spMkLst>
            <pc:docMk/>
            <pc:sldMk cId="1836974008" sldId="1811"/>
            <ac:spMk id="4" creationId="{14406E2A-5AD1-7701-3F05-846C7E4F2E70}"/>
          </ac:spMkLst>
        </pc:spChg>
        <pc:spChg chg="add mod">
          <ac:chgData name="牧野 充希(MAKINO Atsuki)" userId="e1bb11f1-fc18-4a8c-a6ff-e197300cb8d1" providerId="ADAL" clId="{3D355F57-3802-40E8-A1F1-61B8B41E18AD}" dt="2025-04-22T12:57:52.039" v="176" actId="14100"/>
          <ac:spMkLst>
            <pc:docMk/>
            <pc:sldMk cId="1836974008" sldId="1811"/>
            <ac:spMk id="8" creationId="{18190CD3-D99E-63F7-C59F-FB33DFBFA586}"/>
          </ac:spMkLst>
        </pc:spChg>
        <pc:spChg chg="add mod">
          <ac:chgData name="牧野 充希(MAKINO Atsuki)" userId="e1bb11f1-fc18-4a8c-a6ff-e197300cb8d1" providerId="ADAL" clId="{3D355F57-3802-40E8-A1F1-61B8B41E18AD}" dt="2025-04-22T12:58:16.403" v="181" actId="14100"/>
          <ac:spMkLst>
            <pc:docMk/>
            <pc:sldMk cId="1836974008" sldId="1811"/>
            <ac:spMk id="11" creationId="{0767C3B8-2636-2BF0-9D31-8419E521B753}"/>
          </ac:spMkLst>
        </pc:spChg>
        <pc:spChg chg="add mod">
          <ac:chgData name="牧野 充希(MAKINO Atsuki)" userId="e1bb11f1-fc18-4a8c-a6ff-e197300cb8d1" providerId="ADAL" clId="{3D355F57-3802-40E8-A1F1-61B8B41E18AD}" dt="2025-04-22T12:58:24.894" v="184" actId="14100"/>
          <ac:spMkLst>
            <pc:docMk/>
            <pc:sldMk cId="1836974008" sldId="1811"/>
            <ac:spMk id="12" creationId="{0415D830-8C8C-2DB8-B234-EB520CFD2A6D}"/>
          </ac:spMkLst>
        </pc:spChg>
        <pc:spChg chg="add mod">
          <ac:chgData name="牧野 充希(MAKINO Atsuki)" userId="e1bb11f1-fc18-4a8c-a6ff-e197300cb8d1" providerId="ADAL" clId="{3D355F57-3802-40E8-A1F1-61B8B41E18AD}" dt="2025-04-22T12:58:40.476" v="189" actId="14100"/>
          <ac:spMkLst>
            <pc:docMk/>
            <pc:sldMk cId="1836974008" sldId="1811"/>
            <ac:spMk id="13" creationId="{7F07D41F-7BCD-D882-4E92-E05A10235CC8}"/>
          </ac:spMkLst>
        </pc:spChg>
        <pc:spChg chg="add mod">
          <ac:chgData name="牧野 充希(MAKINO Atsuki)" userId="e1bb11f1-fc18-4a8c-a6ff-e197300cb8d1" providerId="ADAL" clId="{3D355F57-3802-40E8-A1F1-61B8B41E18AD}" dt="2025-04-22T13:01:03.414" v="250" actId="20577"/>
          <ac:spMkLst>
            <pc:docMk/>
            <pc:sldMk cId="1836974008" sldId="1811"/>
            <ac:spMk id="14" creationId="{0A1791CE-7DF1-B81F-98B1-2927DA33A2CD}"/>
          </ac:spMkLst>
        </pc:spChg>
        <pc:spChg chg="add mod">
          <ac:chgData name="牧野 充希(MAKINO Atsuki)" userId="e1bb11f1-fc18-4a8c-a6ff-e197300cb8d1" providerId="ADAL" clId="{3D355F57-3802-40E8-A1F1-61B8B41E18AD}" dt="2025-04-22T13:01:05.618" v="251" actId="20577"/>
          <ac:spMkLst>
            <pc:docMk/>
            <pc:sldMk cId="1836974008" sldId="1811"/>
            <ac:spMk id="15" creationId="{E230DFF3-7AAF-9AE0-3257-6510974EEF80}"/>
          </ac:spMkLst>
        </pc:spChg>
        <pc:spChg chg="add mod">
          <ac:chgData name="牧野 充希(MAKINO Atsuki)" userId="e1bb11f1-fc18-4a8c-a6ff-e197300cb8d1" providerId="ADAL" clId="{3D355F57-3802-40E8-A1F1-61B8B41E18AD}" dt="2025-04-22T12:59:18.580" v="199" actId="20577"/>
          <ac:spMkLst>
            <pc:docMk/>
            <pc:sldMk cId="1836974008" sldId="1811"/>
            <ac:spMk id="16" creationId="{A1CC7718-81A3-4534-CD7F-7A8740E69955}"/>
          </ac:spMkLst>
        </pc:spChg>
        <pc:spChg chg="add mod">
          <ac:chgData name="牧野 充希(MAKINO Atsuki)" userId="e1bb11f1-fc18-4a8c-a6ff-e197300cb8d1" providerId="ADAL" clId="{3D355F57-3802-40E8-A1F1-61B8B41E18AD}" dt="2025-04-22T13:01:09.503" v="252" actId="20577"/>
          <ac:spMkLst>
            <pc:docMk/>
            <pc:sldMk cId="1836974008" sldId="1811"/>
            <ac:spMk id="17" creationId="{85387BF5-57C7-8561-911A-8EAD2BB2CCF9}"/>
          </ac:spMkLst>
        </pc:spChg>
        <pc:spChg chg="add mod">
          <ac:chgData name="牧野 充希(MAKINO Atsuki)" userId="e1bb11f1-fc18-4a8c-a6ff-e197300cb8d1" providerId="ADAL" clId="{3D355F57-3802-40E8-A1F1-61B8B41E18AD}" dt="2025-04-22T13:00:48.511" v="245"/>
          <ac:spMkLst>
            <pc:docMk/>
            <pc:sldMk cId="1836974008" sldId="1811"/>
            <ac:spMk id="18" creationId="{D74317CD-EC2F-A9D2-D497-04804CD97073}"/>
          </ac:spMkLst>
        </pc:spChg>
        <pc:graphicFrameChg chg="modGraphic">
          <ac:chgData name="牧野 充希(MAKINO Atsuki)" userId="e1bb11f1-fc18-4a8c-a6ff-e197300cb8d1" providerId="ADAL" clId="{3D355F57-3802-40E8-A1F1-61B8B41E18AD}" dt="2025-04-22T13:20:48.365" v="399" actId="20577"/>
          <ac:graphicFrameMkLst>
            <pc:docMk/>
            <pc:sldMk cId="1836974008" sldId="1811"/>
            <ac:graphicFrameMk id="2" creationId="{AC417C49-8970-3FBF-DACA-7F241776FB0E}"/>
          </ac:graphicFrameMkLst>
        </pc:graphicFrameChg>
        <pc:graphicFrameChg chg="add mod">
          <ac:chgData name="牧野 充希(MAKINO Atsuki)" userId="e1bb11f1-fc18-4a8c-a6ff-e197300cb8d1" providerId="ADAL" clId="{3D355F57-3802-40E8-A1F1-61B8B41E18AD}" dt="2025-04-22T12:57:58.887" v="177"/>
          <ac:graphicFrameMkLst>
            <pc:docMk/>
            <pc:sldMk cId="1836974008" sldId="1811"/>
            <ac:graphicFrameMk id="10" creationId="{550B9840-2E6E-D898-D993-33BF267C6BD9}"/>
          </ac:graphicFrameMkLst>
        </pc:graphicFrameChg>
      </pc:sldChg>
      <pc:sldChg chg="addSp modSp add del">
        <pc:chgData name="牧野 充希(MAKINO Atsuki)" userId="e1bb11f1-fc18-4a8c-a6ff-e197300cb8d1" providerId="ADAL" clId="{3D355F57-3802-40E8-A1F1-61B8B41E18AD}" dt="2025-04-22T12:57:31.271" v="163" actId="2696"/>
        <pc:sldMkLst>
          <pc:docMk/>
          <pc:sldMk cId="4079259579" sldId="1811"/>
        </pc:sldMkLst>
        <pc:spChg chg="add mod">
          <ac:chgData name="牧野 充希(MAKINO Atsuki)" userId="e1bb11f1-fc18-4a8c-a6ff-e197300cb8d1" providerId="ADAL" clId="{3D355F57-3802-40E8-A1F1-61B8B41E18AD}" dt="2025-04-22T12:57:17.315" v="162"/>
          <ac:spMkLst>
            <pc:docMk/>
            <pc:sldMk cId="4079259579" sldId="1811"/>
            <ac:spMk id="8" creationId="{61A9E7BC-5414-AA97-0013-D0B9C5D82DCC}"/>
          </ac:spMkLst>
        </pc:spChg>
      </pc:sldChg>
      <pc:sldChg chg="modSp add mod ord">
        <pc:chgData name="牧野 充希(MAKINO Atsuki)" userId="e1bb11f1-fc18-4a8c-a6ff-e197300cb8d1" providerId="ADAL" clId="{3D355F57-3802-40E8-A1F1-61B8B41E18AD}" dt="2025-04-22T13:34:39.703" v="735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3D355F57-3802-40E8-A1F1-61B8B41E18AD}" dt="2025-04-22T13:34:39.703" v="735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牧野 充希(MAKINO Atsuki)" userId="e1bb11f1-fc18-4a8c-a6ff-e197300cb8d1" providerId="ADAL" clId="{F7A8CBFF-2C98-4C0B-80BE-02253EEE2A33}"/>
    <pc:docChg chg="undo custSel modSld">
      <pc:chgData name="牧野 充希(MAKINO Atsuki)" userId="e1bb11f1-fc18-4a8c-a6ff-e197300cb8d1" providerId="ADAL" clId="{F7A8CBFF-2C98-4C0B-80BE-02253EEE2A33}" dt="2025-05-09T06:18:36.901" v="208" actId="1076"/>
      <pc:docMkLst>
        <pc:docMk/>
      </pc:docMkLst>
      <pc:sldChg chg="modSp mod">
        <pc:chgData name="牧野 充希(MAKINO Atsuki)" userId="e1bb11f1-fc18-4a8c-a6ff-e197300cb8d1" providerId="ADAL" clId="{F7A8CBFF-2C98-4C0B-80BE-02253EEE2A33}" dt="2025-05-09T05:46:57.799" v="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F7A8CBFF-2C98-4C0B-80BE-02253EEE2A33}" dt="2025-05-09T05:46:57.799" v="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F7A8CBFF-2C98-4C0B-80BE-02253EEE2A33}" dt="2025-05-09T06:18:09.731" v="195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F7A8CBFF-2C98-4C0B-80BE-02253EEE2A33}" dt="2025-05-09T06:18:09.731" v="19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01.424" v="99" actId="20577"/>
        <pc:sldMkLst>
          <pc:docMk/>
          <pc:sldMk cId="3494048592" sldId="1805"/>
        </pc:sldMkLst>
        <pc:graphicFrameChg chg="mod modGraphic">
          <ac:chgData name="牧野 充希(MAKINO Atsuki)" userId="e1bb11f1-fc18-4a8c-a6ff-e197300cb8d1" providerId="ADAL" clId="{F7A8CBFF-2C98-4C0B-80BE-02253EEE2A33}" dt="2025-05-09T05:52:01.424" v="99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1:45.990" v="96" actId="20577"/>
        <pc:sldMkLst>
          <pc:docMk/>
          <pc:sldMk cId="1539400230" sldId="1806"/>
        </pc:sldMkLst>
        <pc:graphicFrameChg chg="mod modGraphic">
          <ac:chgData name="牧野 充希(MAKINO Atsuki)" userId="e1bb11f1-fc18-4a8c-a6ff-e197300cb8d1" providerId="ADAL" clId="{F7A8CBFF-2C98-4C0B-80BE-02253EEE2A33}" dt="2025-05-09T05:51:45.990" v="96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39.468" v="124"/>
        <pc:sldMkLst>
          <pc:docMk/>
          <pc:sldMk cId="2260495983" sldId="1808"/>
        </pc:sldMkLst>
        <pc:graphicFrameChg chg="mod modGraphic">
          <ac:chgData name="牧野 充希(MAKINO Atsuki)" userId="e1bb11f1-fc18-4a8c-a6ff-e197300cb8d1" providerId="ADAL" clId="{F7A8CBFF-2C98-4C0B-80BE-02253EEE2A33}" dt="2025-05-09T05:52:39.468" v="124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6:18:36.901" v="208" actId="107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F7A8CBFF-2C98-4C0B-80BE-02253EEE2A33}" dt="2025-05-09T06:18:36.901" v="208" actId="1076"/>
          <ac:spMkLst>
            <pc:docMk/>
            <pc:sldMk cId="4036958067" sldId="1810"/>
            <ac:spMk id="13" creationId="{340947B3-F05D-517A-FFD9-7826CA92BDAC}"/>
          </ac:spMkLst>
        </pc:spChg>
        <pc:graphicFrameChg chg="mod modGraphic">
          <ac:chgData name="牧野 充希(MAKINO Atsuki)" userId="e1bb11f1-fc18-4a8c-a6ff-e197300cb8d1" providerId="ADAL" clId="{F7A8CBFF-2C98-4C0B-80BE-02253EEE2A33}" dt="2025-05-09T06:18:15.976" v="206" actId="20577"/>
          <ac:graphicFrameMkLst>
            <pc:docMk/>
            <pc:sldMk cId="4036958067" sldId="1810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25.141" v="123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F7A8CBFF-2C98-4C0B-80BE-02253EEE2A33}" dt="2025-05-09T05:52:25.141" v="123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西村 笙平(NISHIMURA Shohei)" userId="d08d2c33-9814-43fe-9d7b-ea3e5d006c86" providerId="ADAL" clId="{9C74C3F1-FD87-46E1-93A6-4137E9CDD8EF}"/>
    <pc:docChg chg="undo custSel delSld modSld modSection">
      <pc:chgData name="西村 笙平(NISHIMURA Shohei)" userId="d08d2c33-9814-43fe-9d7b-ea3e5d006c86" providerId="ADAL" clId="{9C74C3F1-FD87-46E1-93A6-4137E9CDD8EF}" dt="2025-04-15T10:21:43.012" v="141" actId="20577"/>
      <pc:docMkLst>
        <pc:docMk/>
      </pc:docMkLst>
      <pc:sldChg chg="modSp mod">
        <pc:chgData name="西村 笙平(NISHIMURA Shohei)" userId="d08d2c33-9814-43fe-9d7b-ea3e5d006c86" providerId="ADAL" clId="{9C74C3F1-FD87-46E1-93A6-4137E9CDD8EF}" dt="2025-04-15T09:14:30.703" v="30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9C74C3F1-FD87-46E1-93A6-4137E9CDD8EF}" dt="2025-04-15T09:14:30.703" v="30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西村 笙平(NISHIMURA Shohei)" userId="d08d2c33-9814-43fe-9d7b-ea3e5d006c86" providerId="ADAL" clId="{9C74C3F1-FD87-46E1-93A6-4137E9CDD8EF}" dt="2025-04-15T09:15:41.077" v="39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9C74C3F1-FD87-46E1-93A6-4137E9CDD8EF}" dt="2025-04-15T09:15:24.425" v="37" actId="14100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西村 笙平(NISHIMURA Shohei)" userId="d08d2c33-9814-43fe-9d7b-ea3e5d006c86" providerId="ADAL" clId="{9C74C3F1-FD87-46E1-93A6-4137E9CDD8EF}" dt="2025-04-15T09:15:20.657" v="36" actId="14100"/>
          <ac:spMkLst>
            <pc:docMk/>
            <pc:sldMk cId="2174853723" sldId="1802"/>
            <ac:spMk id="11" creationId="{6BE75387-9B28-51BA-42FE-14811FC58A67}"/>
          </ac:spMkLst>
        </pc:spChg>
        <pc:spChg chg="add mod">
          <ac:chgData name="西村 笙平(NISHIMURA Shohei)" userId="d08d2c33-9814-43fe-9d7b-ea3e5d006c86" providerId="ADAL" clId="{9C74C3F1-FD87-46E1-93A6-4137E9CDD8EF}" dt="2025-04-15T09:15:41.077" v="39"/>
          <ac:spMkLst>
            <pc:docMk/>
            <pc:sldMk cId="2174853723" sldId="1802"/>
            <ac:spMk id="18" creationId="{9236A2A0-CE6D-D17F-57E3-863197B51618}"/>
          </ac:spMkLst>
        </pc:spChg>
        <pc:spChg chg="del">
          <ac:chgData name="西村 笙平(NISHIMURA Shohei)" userId="d08d2c33-9814-43fe-9d7b-ea3e5d006c86" providerId="ADAL" clId="{9C74C3F1-FD87-46E1-93A6-4137E9CDD8EF}" dt="2025-04-15T09:15:40.872" v="38" actId="478"/>
          <ac:spMkLst>
            <pc:docMk/>
            <pc:sldMk cId="2174853723" sldId="1802"/>
            <ac:spMk id="23" creationId="{E4C1C023-A7F7-8307-3383-F4CAF1FF2658}"/>
          </ac:spMkLst>
        </pc:spChg>
        <pc:graphicFrameChg chg="del">
          <ac:chgData name="西村 笙平(NISHIMURA Shohei)" userId="d08d2c33-9814-43fe-9d7b-ea3e5d006c86" providerId="ADAL" clId="{9C74C3F1-FD87-46E1-93A6-4137E9CDD8EF}" dt="2025-04-15T09:15:05.562" v="32" actId="478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add mod ord">
          <ac:chgData name="西村 笙平(NISHIMURA Shohei)" userId="d08d2c33-9814-43fe-9d7b-ea3e5d006c86" providerId="ADAL" clId="{9C74C3F1-FD87-46E1-93A6-4137E9CDD8EF}" dt="2025-04-15T09:15:13.741" v="35" actId="167"/>
          <ac:graphicFrameMkLst>
            <pc:docMk/>
            <pc:sldMk cId="2174853723" sldId="1802"/>
            <ac:graphicFrameMk id="17" creationId="{2C6DE5AE-C239-F570-9EBA-D1B3EBDF7224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09:18:37.605" v="127" actId="1076"/>
        <pc:sldMkLst>
          <pc:docMk/>
          <pc:sldMk cId="4155459258" sldId="1803"/>
        </pc:sldMkLst>
        <pc:spChg chg="mod">
          <ac:chgData name="西村 笙平(NISHIMURA Shohei)" userId="d08d2c33-9814-43fe-9d7b-ea3e5d006c86" providerId="ADAL" clId="{9C74C3F1-FD87-46E1-93A6-4137E9CDD8EF}" dt="2025-04-15T09:18:37.605" v="127" actId="107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9C74C3F1-FD87-46E1-93A6-4137E9CDD8EF}" dt="2025-04-15T09:18:22.095" v="126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9C74C3F1-FD87-46E1-93A6-4137E9CDD8EF}" dt="2025-04-15T09:18:22.095" v="126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西村 笙平(NISHIMURA Shohei)" userId="d08d2c33-9814-43fe-9d7b-ea3e5d006c86" providerId="ADAL" clId="{9C74C3F1-FD87-46E1-93A6-4137E9CDD8EF}" dt="2025-04-15T10:21:29.467" v="135" actId="20577"/>
        <pc:sldMkLst>
          <pc:docMk/>
          <pc:sldMk cId="3494048592" sldId="1805"/>
        </pc:sldMkLst>
        <pc:graphicFrameChg chg="modGraphic">
          <ac:chgData name="西村 笙平(NISHIMURA Shohei)" userId="d08d2c33-9814-43fe-9d7b-ea3e5d006c86" providerId="ADAL" clId="{9C74C3F1-FD87-46E1-93A6-4137E9CDD8EF}" dt="2025-04-15T10:21:29.467" v="135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34.645" v="138" actId="20577"/>
        <pc:sldMkLst>
          <pc:docMk/>
          <pc:sldMk cId="1539400230" sldId="1806"/>
        </pc:sldMkLst>
        <pc:graphicFrameChg chg="modGraphic">
          <ac:chgData name="西村 笙平(NISHIMURA Shohei)" userId="d08d2c33-9814-43fe-9d7b-ea3e5d006c86" providerId="ADAL" clId="{9C74C3F1-FD87-46E1-93A6-4137E9CDD8EF}" dt="2025-04-15T10:21:34.645" v="138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43.012" v="141" actId="20577"/>
        <pc:sldMkLst>
          <pc:docMk/>
          <pc:sldMk cId="2260495983" sldId="1808"/>
        </pc:sldMkLst>
        <pc:graphicFrameChg chg="modGraphic">
          <ac:chgData name="西村 笙平(NISHIMURA Shohei)" userId="d08d2c33-9814-43fe-9d7b-ea3e5d006c86" providerId="ADAL" clId="{9C74C3F1-FD87-46E1-93A6-4137E9CDD8EF}" dt="2025-04-15T10:21:43.012" v="141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del">
        <pc:chgData name="西村 笙平(NISHIMURA Shohei)" userId="d08d2c33-9814-43fe-9d7b-ea3e5d006c86" providerId="ADAL" clId="{9C74C3F1-FD87-46E1-93A6-4137E9CDD8EF}" dt="2025-04-15T09:14:54.078" v="31" actId="47"/>
        <pc:sldMkLst>
          <pc:docMk/>
          <pc:sldMk cId="239995315" sldId="1810"/>
        </pc:sldMkLst>
      </pc:sldChg>
    </pc:docChg>
  </pc:docChgLst>
  <pc:docChgLst>
    <pc:chgData name="牧野 充希(MAKINO Atsuki)" userId="e1bb11f1-fc18-4a8c-a6ff-e197300cb8d1" providerId="ADAL" clId="{35C470DA-8BB2-479D-B2BD-283560908224}"/>
    <pc:docChg chg="undo redo custSel addSld delSld modSld modSection">
      <pc:chgData name="牧野 充希(MAKINO Atsuki)" userId="e1bb11f1-fc18-4a8c-a6ff-e197300cb8d1" providerId="ADAL" clId="{35C470DA-8BB2-479D-B2BD-283560908224}" dt="2025-04-22T03:33:48.184" v="2707" actId="20577"/>
      <pc:docMkLst>
        <pc:docMk/>
      </pc:docMkLst>
      <pc:sldChg chg="addSp delSp modSp mod">
        <pc:chgData name="牧野 充希(MAKINO Atsuki)" userId="e1bb11f1-fc18-4a8c-a6ff-e197300cb8d1" providerId="ADAL" clId="{35C470DA-8BB2-479D-B2BD-283560908224}" dt="2025-04-22T03:32:11.463" v="2677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5C470DA-8BB2-479D-B2BD-283560908224}" dt="2025-04-22T03:23:34.422" v="2635"/>
          <ac:spMkLst>
            <pc:docMk/>
            <pc:sldMk cId="1927059807" sldId="1764"/>
            <ac:spMk id="5" creationId="{BE7313C8-2F30-4CC0-A171-28A0CD336245}"/>
          </ac:spMkLst>
        </pc:spChg>
        <pc:spChg chg="add mod">
          <ac:chgData name="牧野 充希(MAKINO Atsuki)" userId="e1bb11f1-fc18-4a8c-a6ff-e197300cb8d1" providerId="ADAL" clId="{35C470DA-8BB2-479D-B2BD-283560908224}" dt="2025-04-22T03:32:11.463" v="2677"/>
          <ac:spMkLst>
            <pc:docMk/>
            <pc:sldMk cId="1927059807" sldId="1764"/>
            <ac:spMk id="8" creationId="{0A726A9F-62DB-1559-DBA9-911AD8E9F380}"/>
          </ac:spMkLst>
        </pc:spChg>
        <pc:spChg chg="del">
          <ac:chgData name="牧野 充希(MAKINO Atsuki)" userId="e1bb11f1-fc18-4a8c-a6ff-e197300cb8d1" providerId="ADAL" clId="{35C470DA-8BB2-479D-B2BD-283560908224}" dt="2025-04-21T05:33:31.728" v="1841" actId="478"/>
          <ac:spMkLst>
            <pc:docMk/>
            <pc:sldMk cId="1927059807" sldId="1764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31.995" v="1842"/>
          <ac:spMkLst>
            <pc:docMk/>
            <pc:sldMk cId="1927059807" sldId="1764"/>
            <ac:spMk id="9" creationId="{0455CBB7-689F-7050-CCE4-2E47186925B0}"/>
          </ac:spMkLst>
        </pc:spChg>
        <pc:spChg chg="del">
          <ac:chgData name="牧野 充希(MAKINO Atsuki)" userId="e1bb11f1-fc18-4a8c-a6ff-e197300cb8d1" providerId="ADAL" clId="{35C470DA-8BB2-479D-B2BD-283560908224}" dt="2025-04-22T03:22:03.533" v="2628" actId="478"/>
          <ac:spMkLst>
            <pc:docMk/>
            <pc:sldMk cId="1927059807" sldId="1764"/>
            <ac:spMk id="18" creationId="{045734C6-2283-9884-2A64-78EFE34E5FB9}"/>
          </ac:spMkLst>
        </pc:spChg>
        <pc:spChg chg="del">
          <ac:chgData name="牧野 充希(MAKINO Atsuki)" userId="e1bb11f1-fc18-4a8c-a6ff-e197300cb8d1" providerId="ADAL" clId="{35C470DA-8BB2-479D-B2BD-283560908224}" dt="2025-04-22T03:21:59.486" v="2625" actId="478"/>
          <ac:spMkLst>
            <pc:docMk/>
            <pc:sldMk cId="1927059807" sldId="1764"/>
            <ac:spMk id="19" creationId="{F2A5B345-2BF3-1306-C701-19C71A83B96A}"/>
          </ac:spMkLst>
        </pc:spChg>
        <pc:spChg chg="del">
          <ac:chgData name="牧野 充希(MAKINO Atsuki)" userId="e1bb11f1-fc18-4a8c-a6ff-e197300cb8d1" providerId="ADAL" clId="{35C470DA-8BB2-479D-B2BD-283560908224}" dt="2025-04-22T03:21:57.885" v="2624" actId="478"/>
          <ac:spMkLst>
            <pc:docMk/>
            <pc:sldMk cId="1927059807" sldId="1764"/>
            <ac:spMk id="20" creationId="{AECE5947-1C78-2429-919A-413FBEEA6117}"/>
          </ac:spMkLst>
        </pc:spChg>
        <pc:spChg chg="del">
          <ac:chgData name="牧野 充希(MAKINO Atsuki)" userId="e1bb11f1-fc18-4a8c-a6ff-e197300cb8d1" providerId="ADAL" clId="{35C470DA-8BB2-479D-B2BD-283560908224}" dt="2025-04-22T03:21:56.504" v="2623" actId="478"/>
          <ac:spMkLst>
            <pc:docMk/>
            <pc:sldMk cId="1927059807" sldId="1764"/>
            <ac:spMk id="21" creationId="{433C4577-EA22-DB12-2E98-B02340DD7E76}"/>
          </ac:spMkLst>
        </pc:spChg>
        <pc:spChg chg="del">
          <ac:chgData name="牧野 充希(MAKINO Atsuki)" userId="e1bb11f1-fc18-4a8c-a6ff-e197300cb8d1" providerId="ADAL" clId="{35C470DA-8BB2-479D-B2BD-283560908224}" dt="2025-04-22T03:22:07.285" v="2629" actId="478"/>
          <ac:spMkLst>
            <pc:docMk/>
            <pc:sldMk cId="1927059807" sldId="1764"/>
            <ac:spMk id="22" creationId="{C56F6036-4194-C0F0-1124-3DBD87517BE3}"/>
          </ac:spMkLst>
        </pc:spChg>
        <pc:spChg chg="del">
          <ac:chgData name="牧野 充希(MAKINO Atsuki)" userId="e1bb11f1-fc18-4a8c-a6ff-e197300cb8d1" providerId="ADAL" clId="{35C470DA-8BB2-479D-B2BD-283560908224}" dt="2025-04-22T03:22:02.142" v="2627" actId="478"/>
          <ac:spMkLst>
            <pc:docMk/>
            <pc:sldMk cId="1927059807" sldId="1764"/>
            <ac:spMk id="24" creationId="{B1EF62F9-0177-A64D-9A4E-DA41BDFB47CF}"/>
          </ac:spMkLst>
        </pc:spChg>
        <pc:spChg chg="del mod">
          <ac:chgData name="牧野 充希(MAKINO Atsuki)" userId="e1bb11f1-fc18-4a8c-a6ff-e197300cb8d1" providerId="ADAL" clId="{35C470DA-8BB2-479D-B2BD-283560908224}" dt="2025-04-22T03:32:11.227" v="2676" actId="478"/>
          <ac:spMkLst>
            <pc:docMk/>
            <pc:sldMk cId="1927059807" sldId="1764"/>
            <ac:spMk id="25" creationId="{DB86792E-95F0-D2F1-E0C2-4C19F620CE9F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2:55.218" v="2632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  <pc:picChg chg="del">
          <ac:chgData name="牧野 充希(MAKINO Atsuki)" userId="e1bb11f1-fc18-4a8c-a6ff-e197300cb8d1" providerId="ADAL" clId="{35C470DA-8BB2-479D-B2BD-283560908224}" dt="2025-04-22T03:22:00.883" v="2626" actId="478"/>
          <ac:picMkLst>
            <pc:docMk/>
            <pc:sldMk cId="1927059807" sldId="1764"/>
            <ac:picMk id="23" creationId="{CF654636-9E94-03B7-4FA2-9A3708A0B7D1}"/>
          </ac:picMkLst>
        </pc:picChg>
      </pc:sldChg>
      <pc:sldChg chg="delSp modSp mod">
        <pc:chgData name="牧野 充希(MAKINO Atsuki)" userId="e1bb11f1-fc18-4a8c-a6ff-e197300cb8d1" providerId="ADAL" clId="{35C470DA-8BB2-479D-B2BD-283560908224}" dt="2025-04-21T05:32:20.489" v="1790" actId="20577"/>
        <pc:sldMkLst>
          <pc:docMk/>
          <pc:sldMk cId="786981567" sldId="1800"/>
        </pc:sldMkLst>
        <pc:spChg chg="del">
          <ac:chgData name="牧野 充希(MAKINO Atsuki)" userId="e1bb11f1-fc18-4a8c-a6ff-e197300cb8d1" providerId="ADAL" clId="{35C470DA-8BB2-479D-B2BD-283560908224}" dt="2025-04-18T12:51:58.280" v="857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35C470DA-8BB2-479D-B2BD-283560908224}" dt="2025-04-21T05:32:20.489" v="179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3:31:13.524" v="2667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35C470DA-8BB2-479D-B2BD-283560908224}" dt="2025-04-22T03:31:13.524" v="26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modSp del mod">
        <pc:chgData name="牧野 充希(MAKINO Atsuki)" userId="e1bb11f1-fc18-4a8c-a6ff-e197300cb8d1" providerId="ADAL" clId="{35C470DA-8BB2-479D-B2BD-283560908224}" dt="2025-04-21T05:38:33.897" v="1919" actId="2696"/>
        <pc:sldMkLst>
          <pc:docMk/>
          <pc:sldMk cId="2174853723" sldId="1802"/>
        </pc:sldMkLst>
        <pc:spChg chg="mod">
          <ac:chgData name="牧野 充希(MAKINO Atsuki)" userId="e1bb11f1-fc18-4a8c-a6ff-e197300cb8d1" providerId="ADAL" clId="{35C470DA-8BB2-479D-B2BD-283560908224}" dt="2025-04-21T05:37:16.850" v="1904" actId="1076"/>
          <ac:spMkLst>
            <pc:docMk/>
            <pc:sldMk cId="2174853723" sldId="1802"/>
            <ac:spMk id="3" creationId="{C8A3523E-49B5-64AD-925C-2E71989F6FC8}"/>
          </ac:spMkLst>
        </pc:spChg>
        <pc:spChg chg="add mod">
          <ac:chgData name="牧野 充希(MAKINO Atsuki)" userId="e1bb11f1-fc18-4a8c-a6ff-e197300cb8d1" providerId="ADAL" clId="{35C470DA-8BB2-479D-B2BD-283560908224}" dt="2025-04-21T05:38:02.453" v="1913"/>
          <ac:spMkLst>
            <pc:docMk/>
            <pc:sldMk cId="2174853723" sldId="1802"/>
            <ac:spMk id="16" creationId="{5860E7EC-17E9-D736-B20E-9D5BBB7D8EBE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2:35:22.686" v="2538" actId="1036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5C470DA-8BB2-479D-B2BD-283560908224}" dt="2025-04-22T02:35:18.663" v="2532" actId="103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5C470DA-8BB2-479D-B2BD-283560908224}" dt="2025-04-22T02:35:22.686" v="2538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牧野 充希(MAKINO Atsuki)" userId="e1bb11f1-fc18-4a8c-a6ff-e197300cb8d1" providerId="ADAL" clId="{35C470DA-8BB2-479D-B2BD-283560908224}" dt="2025-04-22T02:35:18.663" v="2532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牧野 充希(MAKINO Atsuki)" userId="e1bb11f1-fc18-4a8c-a6ff-e197300cb8d1" providerId="ADAL" clId="{35C470DA-8BB2-479D-B2BD-283560908224}" dt="2025-04-22T03:30:20.838" v="266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5C470DA-8BB2-479D-B2BD-283560908224}" dt="2025-04-21T05:33:03.432" v="1824" actId="1038"/>
          <ac:spMkLst>
            <pc:docMk/>
            <pc:sldMk cId="3494048592" sldId="1805"/>
            <ac:spMk id="10" creationId="{35543A15-5B1D-8CB3-2CC6-E1EA7F2D4B43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30:20.838" v="266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33:48.184" v="2707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5C470DA-8BB2-479D-B2BD-283560908224}" dt="2025-04-22T03:32:04.807" v="2675" actId="1076"/>
          <ac:spMkLst>
            <pc:docMk/>
            <pc:sldMk cId="1539400230" sldId="1806"/>
            <ac:spMk id="2" creationId="{7848149B-D4FA-B760-5D11-F1A5E4E7DF97}"/>
          </ac:spMkLst>
        </pc:spChg>
        <pc:spChg chg="del">
          <ac:chgData name="牧野 充希(MAKINO Atsuki)" userId="e1bb11f1-fc18-4a8c-a6ff-e197300cb8d1" providerId="ADAL" clId="{35C470DA-8BB2-479D-B2BD-283560908224}" dt="2025-04-21T05:33:09.527" v="1825" actId="478"/>
          <ac:spMkLst>
            <pc:docMk/>
            <pc:sldMk cId="1539400230" sldId="1806"/>
            <ac:spMk id="10" creationId="{35543A15-5B1D-8CB3-2CC6-E1EA7F2D4B43}"/>
          </ac:spMkLst>
        </pc:spChg>
        <pc:spChg chg="mod">
          <ac:chgData name="牧野 充希(MAKINO Atsuki)" userId="e1bb11f1-fc18-4a8c-a6ff-e197300cb8d1" providerId="ADAL" clId="{35C470DA-8BB2-479D-B2BD-283560908224}" dt="2025-04-22T03:33:42.449" v="2702" actId="20577"/>
          <ac:spMkLst>
            <pc:docMk/>
            <pc:sldMk cId="1539400230" sldId="1806"/>
            <ac:spMk id="12" creationId="{54A400CD-FBE6-BD20-3941-04BB166A55AB}"/>
          </ac:spMkLst>
        </pc:spChg>
        <pc:spChg chg="mod">
          <ac:chgData name="牧野 充希(MAKINO Atsuki)" userId="e1bb11f1-fc18-4a8c-a6ff-e197300cb8d1" providerId="ADAL" clId="{35C470DA-8BB2-479D-B2BD-283560908224}" dt="2025-04-22T03:33:43.595" v="2703" actId="20577"/>
          <ac:spMkLst>
            <pc:docMk/>
            <pc:sldMk cId="1539400230" sldId="1806"/>
            <ac:spMk id="13" creationId="{E337FF87-CDFB-2557-A7CD-69F4779D6DF2}"/>
          </ac:spMkLst>
        </pc:spChg>
        <pc:spChg chg="add del mod">
          <ac:chgData name="牧野 充希(MAKINO Atsuki)" userId="e1bb11f1-fc18-4a8c-a6ff-e197300cb8d1" providerId="ADAL" clId="{35C470DA-8BB2-479D-B2BD-283560908224}" dt="2025-04-22T03:33:47.196" v="2706" actId="20577"/>
          <ac:spMkLst>
            <pc:docMk/>
            <pc:sldMk cId="1539400230" sldId="1806"/>
            <ac:spMk id="14" creationId="{335D6C43-1401-4A58-26FF-C604454F13FF}"/>
          </ac:spMkLst>
        </pc:spChg>
        <pc:spChg chg="add mod">
          <ac:chgData name="牧野 充希(MAKINO Atsuki)" userId="e1bb11f1-fc18-4a8c-a6ff-e197300cb8d1" providerId="ADAL" clId="{35C470DA-8BB2-479D-B2BD-283560908224}" dt="2025-04-21T05:33:09.779" v="1826"/>
          <ac:spMkLst>
            <pc:docMk/>
            <pc:sldMk cId="1539400230" sldId="1806"/>
            <ac:spMk id="15" creationId="{C5F075E2-7332-766F-8FA3-BD6D4A460ED7}"/>
          </ac:spMkLst>
        </pc:spChg>
        <pc:spChg chg="mod">
          <ac:chgData name="牧野 充希(MAKINO Atsuki)" userId="e1bb11f1-fc18-4a8c-a6ff-e197300cb8d1" providerId="ADAL" clId="{35C470DA-8BB2-479D-B2BD-283560908224}" dt="2025-04-22T03:33:48.184" v="2707" actId="20577"/>
          <ac:spMkLst>
            <pc:docMk/>
            <pc:sldMk cId="1539400230" sldId="1806"/>
            <ac:spMk id="16" creationId="{5CCDF56A-7F17-7705-D560-EFADB4C3FC8E}"/>
          </ac:spMkLst>
        </pc:spChg>
        <pc:spChg chg="add del">
          <ac:chgData name="牧野 充希(MAKINO Atsuki)" userId="e1bb11f1-fc18-4a8c-a6ff-e197300cb8d1" providerId="ADAL" clId="{35C470DA-8BB2-479D-B2BD-283560908224}" dt="2025-04-22T03:17:12.250" v="2558" actId="478"/>
          <ac:spMkLst>
            <pc:docMk/>
            <pc:sldMk cId="1539400230" sldId="1806"/>
            <ac:spMk id="21" creationId="{1CE48F07-2263-E2AB-D2E2-821FF0157F73}"/>
          </ac:spMkLst>
        </pc:spChg>
        <pc:spChg chg="add del">
          <ac:chgData name="牧野 充希(MAKINO Atsuki)" userId="e1bb11f1-fc18-4a8c-a6ff-e197300cb8d1" providerId="ADAL" clId="{35C470DA-8BB2-479D-B2BD-283560908224}" dt="2025-04-22T03:17:13.442" v="2559" actId="478"/>
          <ac:spMkLst>
            <pc:docMk/>
            <pc:sldMk cId="1539400230" sldId="1806"/>
            <ac:spMk id="25" creationId="{6E42A63F-2890-CD55-BF86-10D64ABE91F0}"/>
          </ac:spMkLst>
        </pc:spChg>
        <pc:spChg chg="add del">
          <ac:chgData name="牧野 充希(MAKINO Atsuki)" userId="e1bb11f1-fc18-4a8c-a6ff-e197300cb8d1" providerId="ADAL" clId="{35C470DA-8BB2-479D-B2BD-283560908224}" dt="2025-04-22T03:17:14.070" v="2560" actId="478"/>
          <ac:spMkLst>
            <pc:docMk/>
            <pc:sldMk cId="1539400230" sldId="1806"/>
            <ac:spMk id="26" creationId="{358BB655-A14C-7663-3C69-9F73E05F490B}"/>
          </ac:spMkLst>
        </pc:spChg>
        <pc:spChg chg="del">
          <ac:chgData name="牧野 充希(MAKINO Atsuki)" userId="e1bb11f1-fc18-4a8c-a6ff-e197300cb8d1" providerId="ADAL" clId="{35C470DA-8BB2-479D-B2BD-283560908224}" dt="2025-04-22T03:17:15.420" v="2561" actId="478"/>
          <ac:spMkLst>
            <pc:docMk/>
            <pc:sldMk cId="1539400230" sldId="1806"/>
            <ac:spMk id="28" creationId="{D0A09A31-B145-CE29-6B63-3AE0379CE7ED}"/>
          </ac:spMkLst>
        </pc:spChg>
        <pc:spChg chg="del">
          <ac:chgData name="牧野 充希(MAKINO Atsuki)" userId="e1bb11f1-fc18-4a8c-a6ff-e197300cb8d1" providerId="ADAL" clId="{35C470DA-8BB2-479D-B2BD-283560908224}" dt="2025-04-22T03:17:21.058" v="2563" actId="478"/>
          <ac:spMkLst>
            <pc:docMk/>
            <pc:sldMk cId="1539400230" sldId="1806"/>
            <ac:spMk id="29" creationId="{CA3E06D2-4A37-348E-9738-03B25F84A234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6:36.705" v="2637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  <pc:graphicFrameChg chg="add del">
          <ac:chgData name="牧野 充希(MAKINO Atsuki)" userId="e1bb11f1-fc18-4a8c-a6ff-e197300cb8d1" providerId="ADAL" clId="{35C470DA-8BB2-479D-B2BD-283560908224}" dt="2025-04-22T03:17:16.267" v="2562" actId="478"/>
          <ac:graphicFrameMkLst>
            <pc:docMk/>
            <pc:sldMk cId="1539400230" sldId="1806"/>
            <ac:graphicFrameMk id="27" creationId="{5854502F-3CF4-C0E0-573D-8CEB2F7A9B1F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22.878" v="2622" actId="20577"/>
        <pc:sldMkLst>
          <pc:docMk/>
          <pc:sldMk cId="3361803510" sldId="1807"/>
        </pc:sldMkLst>
        <pc:spChg chg="del">
          <ac:chgData name="牧野 充希(MAKINO Atsuki)" userId="e1bb11f1-fc18-4a8c-a6ff-e197300cb8d1" providerId="ADAL" clId="{35C470DA-8BB2-479D-B2BD-283560908224}" dt="2025-04-21T05:33:14.943" v="1827" actId="478"/>
          <ac:spMkLst>
            <pc:docMk/>
            <pc:sldMk cId="3361803510" sldId="1807"/>
            <ac:spMk id="3" creationId="{992659FA-9BCC-7BE8-66D6-564C9B321D15}"/>
          </ac:spMkLst>
        </pc:spChg>
        <pc:spChg chg="add mod">
          <ac:chgData name="牧野 充希(MAKINO Atsuki)" userId="e1bb11f1-fc18-4a8c-a6ff-e197300cb8d1" providerId="ADAL" clId="{35C470DA-8BB2-479D-B2BD-283560908224}" dt="2025-04-21T05:33:15.194" v="1828"/>
          <ac:spMkLst>
            <pc:docMk/>
            <pc:sldMk cId="3361803510" sldId="1807"/>
            <ac:spMk id="4" creationId="{46D89142-794A-1C69-7B9D-A6954B332BED}"/>
          </ac:spMkLst>
        </pc:spChg>
        <pc:spChg chg="mod">
          <ac:chgData name="牧野 充希(MAKINO Atsuki)" userId="e1bb11f1-fc18-4a8c-a6ff-e197300cb8d1" providerId="ADAL" clId="{35C470DA-8BB2-479D-B2BD-283560908224}" dt="2025-04-22T03:21:22.878" v="2622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addSp delSp modSp mod">
        <pc:chgData name="牧野 充希(MAKINO Atsuki)" userId="e1bb11f1-fc18-4a8c-a6ff-e197300cb8d1" providerId="ADAL" clId="{35C470DA-8BB2-479D-B2BD-283560908224}" dt="2025-04-22T03:23:31.412" v="2634" actId="1076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5C470DA-8BB2-479D-B2BD-283560908224}" dt="2025-04-22T03:23:31.412" v="2634" actId="1076"/>
          <ac:spMkLst>
            <pc:docMk/>
            <pc:sldMk cId="2260495983" sldId="1808"/>
            <ac:spMk id="4" creationId="{14406E2A-5AD1-7701-3F05-846C7E4F2E70}"/>
          </ac:spMkLst>
        </pc:spChg>
        <pc:spChg chg="mod">
          <ac:chgData name="牧野 充希(MAKINO Atsuki)" userId="e1bb11f1-fc18-4a8c-a6ff-e197300cb8d1" providerId="ADAL" clId="{35C470DA-8BB2-479D-B2BD-283560908224}" dt="2025-04-22T03:23:28.048" v="2633"/>
          <ac:spMkLst>
            <pc:docMk/>
            <pc:sldMk cId="2260495983" sldId="1808"/>
            <ac:spMk id="5" creationId="{BE7313C8-2F30-4CC0-A171-28A0CD336245}"/>
          </ac:spMkLst>
        </pc:spChg>
        <pc:spChg chg="del">
          <ac:chgData name="牧野 充希(MAKINO Atsuki)" userId="e1bb11f1-fc18-4a8c-a6ff-e197300cb8d1" providerId="ADAL" clId="{35C470DA-8BB2-479D-B2BD-283560908224}" dt="2025-04-21T05:33:22.996" v="1829" actId="478"/>
          <ac:spMkLst>
            <pc:docMk/>
            <pc:sldMk cId="2260495983" sldId="1808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26.403" v="1840" actId="20577"/>
          <ac:spMkLst>
            <pc:docMk/>
            <pc:sldMk cId="2260495983" sldId="1808"/>
            <ac:spMk id="9" creationId="{D4562A9B-C477-BA42-D1FF-B61BF4C1BE52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0:52.804" v="2610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05.069" v="2614"/>
        <pc:sldMkLst>
          <pc:docMk/>
          <pc:sldMk cId="2538732313" sldId="1809"/>
        </pc:sldMkLst>
        <pc:spChg chg="add mod">
          <ac:chgData name="牧野 充希(MAKINO Atsuki)" userId="e1bb11f1-fc18-4a8c-a6ff-e197300cb8d1" providerId="ADAL" clId="{35C470DA-8BB2-479D-B2BD-283560908224}" dt="2025-04-21T05:33:36.326" v="1844"/>
          <ac:spMkLst>
            <pc:docMk/>
            <pc:sldMk cId="2538732313" sldId="1809"/>
            <ac:spMk id="3" creationId="{AD7D05FE-EB06-CABF-3A71-2F35A962C383}"/>
          </ac:spMkLst>
        </pc:spChg>
        <pc:spChg chg="mod">
          <ac:chgData name="牧野 充希(MAKINO Atsuki)" userId="e1bb11f1-fc18-4a8c-a6ff-e197300cb8d1" providerId="ADAL" clId="{35C470DA-8BB2-479D-B2BD-283560908224}" dt="2025-04-22T03:21:05.069" v="2614"/>
          <ac:spMkLst>
            <pc:docMk/>
            <pc:sldMk cId="2538732313" sldId="1809"/>
            <ac:spMk id="8" creationId="{D7FDF8F7-1165-88FF-2A7D-D571C1D4BFAE}"/>
          </ac:spMkLst>
        </pc:spChg>
        <pc:spChg chg="del">
          <ac:chgData name="牧野 充希(MAKINO Atsuki)" userId="e1bb11f1-fc18-4a8c-a6ff-e197300cb8d1" providerId="ADAL" clId="{35C470DA-8BB2-479D-B2BD-283560908224}" dt="2025-04-21T05:33:36.102" v="1843" actId="478"/>
          <ac:spMkLst>
            <pc:docMk/>
            <pc:sldMk cId="2538732313" sldId="1809"/>
            <ac:spMk id="12" creationId="{F4B5D129-9A3E-7018-EF66-BABC8407D440}"/>
          </ac:spMkLst>
        </pc:spChg>
      </pc:sldChg>
      <pc:sldChg chg="addSp modSp add del mod">
        <pc:chgData name="牧野 充希(MAKINO Atsuki)" userId="e1bb11f1-fc18-4a8c-a6ff-e197300cb8d1" providerId="ADAL" clId="{35C470DA-8BB2-479D-B2BD-283560908224}" dt="2025-04-21T05:39:02.001" v="1920" actId="2696"/>
        <pc:sldMkLst>
          <pc:docMk/>
          <pc:sldMk cId="896103148" sldId="1810"/>
        </pc:sldMkLst>
        <pc:spChg chg="add mod">
          <ac:chgData name="牧野 充希(MAKINO Atsuki)" userId="e1bb11f1-fc18-4a8c-a6ff-e197300cb8d1" providerId="ADAL" clId="{35C470DA-8BB2-479D-B2BD-283560908224}" dt="2025-04-21T05:37:26.453" v="1906" actId="1076"/>
          <ac:spMkLst>
            <pc:docMk/>
            <pc:sldMk cId="896103148" sldId="1810"/>
            <ac:spMk id="2" creationId="{A87F003C-025A-310D-6910-89632D11BA41}"/>
          </ac:spMkLst>
        </pc:spChg>
        <pc:spChg chg="add mod">
          <ac:chgData name="牧野 充希(MAKINO Atsuki)" userId="e1bb11f1-fc18-4a8c-a6ff-e197300cb8d1" providerId="ADAL" clId="{35C470DA-8BB2-479D-B2BD-283560908224}" dt="2025-04-21T05:37:30.950" v="1907"/>
          <ac:spMkLst>
            <pc:docMk/>
            <pc:sldMk cId="896103148" sldId="1810"/>
            <ac:spMk id="3" creationId="{A058C6C7-DD6A-03A6-B337-3EF4164BE601}"/>
          </ac:spMkLst>
        </pc:spChg>
        <pc:spChg chg="add mod">
          <ac:chgData name="牧野 充希(MAKINO Atsuki)" userId="e1bb11f1-fc18-4a8c-a6ff-e197300cb8d1" providerId="ADAL" clId="{35C470DA-8BB2-479D-B2BD-283560908224}" dt="2025-04-21T05:37:47.115" v="1909" actId="14100"/>
          <ac:spMkLst>
            <pc:docMk/>
            <pc:sldMk cId="896103148" sldId="1810"/>
            <ac:spMk id="4" creationId="{DC030EA6-A826-31F5-D6CB-4A55BBC06F0D}"/>
          </ac:spMkLst>
        </pc:spChg>
        <pc:spChg chg="add mod">
          <ac:chgData name="牧野 充希(MAKINO Atsuki)" userId="e1bb11f1-fc18-4a8c-a6ff-e197300cb8d1" providerId="ADAL" clId="{35C470DA-8BB2-479D-B2BD-283560908224}" dt="2025-04-21T05:37:52.958" v="1911" actId="14100"/>
          <ac:spMkLst>
            <pc:docMk/>
            <pc:sldMk cId="896103148" sldId="1810"/>
            <ac:spMk id="7" creationId="{4CBFC462-3509-6DB1-FD00-0B8F4FC3FFBE}"/>
          </ac:spMkLst>
        </pc:spChg>
        <pc:spChg chg="add mod">
          <ac:chgData name="牧野 充希(MAKINO Atsuki)" userId="e1bb11f1-fc18-4a8c-a6ff-e197300cb8d1" providerId="ADAL" clId="{35C470DA-8BB2-479D-B2BD-283560908224}" dt="2025-04-21T05:37:58.571" v="1912"/>
          <ac:spMkLst>
            <pc:docMk/>
            <pc:sldMk cId="896103148" sldId="1810"/>
            <ac:spMk id="10" creationId="{09353F1E-9FB3-5EDC-384C-DDCE7D983F98}"/>
          </ac:spMkLst>
        </pc:spChg>
        <pc:spChg chg="add mod">
          <ac:chgData name="牧野 充希(MAKINO Atsuki)" userId="e1bb11f1-fc18-4a8c-a6ff-e197300cb8d1" providerId="ADAL" clId="{35C470DA-8BB2-479D-B2BD-283560908224}" dt="2025-04-21T05:38:06.804" v="1914"/>
          <ac:spMkLst>
            <pc:docMk/>
            <pc:sldMk cId="896103148" sldId="1810"/>
            <ac:spMk id="11" creationId="{B0EB2136-4B80-3E1D-0A59-AB104F19EEFA}"/>
          </ac:spMkLst>
        </pc:spChg>
        <pc:spChg chg="add mod">
          <ac:chgData name="牧野 充希(MAKINO Atsuki)" userId="e1bb11f1-fc18-4a8c-a6ff-e197300cb8d1" providerId="ADAL" clId="{35C470DA-8BB2-479D-B2BD-283560908224}" dt="2025-04-21T05:38:11.719" v="1915"/>
          <ac:spMkLst>
            <pc:docMk/>
            <pc:sldMk cId="896103148" sldId="1810"/>
            <ac:spMk id="12" creationId="{6D136239-7279-C0A1-CFF6-424DC88DDF4C}"/>
          </ac:spMkLst>
        </pc:spChg>
        <pc:spChg chg="add mod">
          <ac:chgData name="牧野 充希(MAKINO Atsuki)" userId="e1bb11f1-fc18-4a8c-a6ff-e197300cb8d1" providerId="ADAL" clId="{35C470DA-8BB2-479D-B2BD-283560908224}" dt="2025-04-21T05:38:15.285" v="1916"/>
          <ac:spMkLst>
            <pc:docMk/>
            <pc:sldMk cId="896103148" sldId="1810"/>
            <ac:spMk id="13" creationId="{BA282211-1FAF-07CB-71DB-7C01A386891E}"/>
          </ac:spMkLst>
        </pc:spChg>
        <pc:spChg chg="add mod">
          <ac:chgData name="牧野 充希(MAKINO Atsuki)" userId="e1bb11f1-fc18-4a8c-a6ff-e197300cb8d1" providerId="ADAL" clId="{35C470DA-8BB2-479D-B2BD-283560908224}" dt="2025-04-21T05:38:20.155" v="1917"/>
          <ac:spMkLst>
            <pc:docMk/>
            <pc:sldMk cId="896103148" sldId="1810"/>
            <ac:spMk id="14" creationId="{AB5A89DB-B16B-422F-7347-577E6C067480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5" creationId="{0BC7258B-0A7B-2760-B8A6-297BD5365F47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6" creationId="{EC926E78-163C-E8D6-2065-B0FC84F6E145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7" creationId="{4AC2CE2A-B336-62CB-3EFD-3683427E4F98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8" creationId="{A431933D-96EE-C465-60D6-71B42C7EDAEB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9" creationId="{E426B21A-FB29-EBCF-79B3-04D0607D9E3A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0" creationId="{DFB04316-FC82-45F0-6232-A5C73339FAD1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2" creationId="{0CC5D9BD-3F68-22F7-D411-6C8F7F7A420C}"/>
          </ac:spMkLst>
        </pc:spChg>
        <pc:picChg chg="add mod">
          <ac:chgData name="牧野 充希(MAKINO Atsuki)" userId="e1bb11f1-fc18-4a8c-a6ff-e197300cb8d1" providerId="ADAL" clId="{35C470DA-8BB2-479D-B2BD-283560908224}" dt="2025-04-21T05:38:30.050" v="1918"/>
          <ac:picMkLst>
            <pc:docMk/>
            <pc:sldMk cId="896103148" sldId="1810"/>
            <ac:picMk id="21" creationId="{F538E84E-C819-5E44-D00B-90059CA07457}"/>
          </ac:picMkLst>
        </pc:picChg>
      </pc:sldChg>
      <pc:sldChg chg="addSp modSp add mod">
        <pc:chgData name="牧野 充希(MAKINO Atsuki)" userId="e1bb11f1-fc18-4a8c-a6ff-e197300cb8d1" providerId="ADAL" clId="{35C470DA-8BB2-479D-B2BD-283560908224}" dt="2025-04-22T03:33:38.158" v="2701" actId="20577"/>
        <pc:sldMkLst>
          <pc:docMk/>
          <pc:sldMk cId="4036958067" sldId="1810"/>
        </pc:sldMkLst>
        <pc:spChg chg="add mod">
          <ac:chgData name="牧野 充希(MAKINO Atsuki)" userId="e1bb11f1-fc18-4a8c-a6ff-e197300cb8d1" providerId="ADAL" clId="{35C470DA-8BB2-479D-B2BD-283560908224}" dt="2025-04-22T03:32:55.831" v="2682" actId="14100"/>
          <ac:spMkLst>
            <pc:docMk/>
            <pc:sldMk cId="4036958067" sldId="1810"/>
            <ac:spMk id="2" creationId="{F5FFD9C2-A970-F8A0-7D7F-C959C590B6F2}"/>
          </ac:spMkLst>
        </pc:spChg>
        <pc:spChg chg="add mod">
          <ac:chgData name="牧野 充希(MAKINO Atsuki)" userId="e1bb11f1-fc18-4a8c-a6ff-e197300cb8d1" providerId="ADAL" clId="{35C470DA-8BB2-479D-B2BD-283560908224}" dt="2025-04-22T03:33:03.763" v="2685" actId="14100"/>
          <ac:spMkLst>
            <pc:docMk/>
            <pc:sldMk cId="4036958067" sldId="1810"/>
            <ac:spMk id="3" creationId="{DE417F91-24D6-45E2-11EA-DD88925C495F}"/>
          </ac:spMkLst>
        </pc:spChg>
        <pc:spChg chg="add mod">
          <ac:chgData name="牧野 充希(MAKINO Atsuki)" userId="e1bb11f1-fc18-4a8c-a6ff-e197300cb8d1" providerId="ADAL" clId="{35C470DA-8BB2-479D-B2BD-283560908224}" dt="2025-04-22T03:33:13.860" v="2689" actId="14100"/>
          <ac:spMkLst>
            <pc:docMk/>
            <pc:sldMk cId="4036958067" sldId="1810"/>
            <ac:spMk id="4" creationId="{595BAB98-ACD0-2FCE-88AB-7F18DB0B52E4}"/>
          </ac:spMkLst>
        </pc:spChg>
        <pc:spChg chg="add mod">
          <ac:chgData name="牧野 充希(MAKINO Atsuki)" userId="e1bb11f1-fc18-4a8c-a6ff-e197300cb8d1" providerId="ADAL" clId="{35C470DA-8BB2-479D-B2BD-283560908224}" dt="2025-04-22T03:33:11.976" v="2688" actId="14100"/>
          <ac:spMkLst>
            <pc:docMk/>
            <pc:sldMk cId="4036958067" sldId="1810"/>
            <ac:spMk id="7" creationId="{CA4E0F96-2DBC-1F8F-F4A6-5BE11A500CEB}"/>
          </ac:spMkLst>
        </pc:spChg>
        <pc:spChg chg="add mod">
          <ac:chgData name="牧野 充希(MAKINO Atsuki)" userId="e1bb11f1-fc18-4a8c-a6ff-e197300cb8d1" providerId="ADAL" clId="{35C470DA-8BB2-479D-B2BD-283560908224}" dt="2025-04-22T03:33:24.042" v="2692" actId="20577"/>
          <ac:spMkLst>
            <pc:docMk/>
            <pc:sldMk cId="4036958067" sldId="1810"/>
            <ac:spMk id="10" creationId="{0070926E-9D65-8963-AD43-1CC021F74F8C}"/>
          </ac:spMkLst>
        </pc:spChg>
        <pc:spChg chg="add mod">
          <ac:chgData name="牧野 充希(MAKINO Atsuki)" userId="e1bb11f1-fc18-4a8c-a6ff-e197300cb8d1" providerId="ADAL" clId="{35C470DA-8BB2-479D-B2BD-283560908224}" dt="2025-04-22T03:33:25.365" v="2693" actId="20577"/>
          <ac:spMkLst>
            <pc:docMk/>
            <pc:sldMk cId="4036958067" sldId="1810"/>
            <ac:spMk id="11" creationId="{3C36D468-4BBA-B295-CBB1-4592567C130F}"/>
          </ac:spMkLst>
        </pc:spChg>
        <pc:spChg chg="add mod">
          <ac:chgData name="牧野 充希(MAKINO Atsuki)" userId="e1bb11f1-fc18-4a8c-a6ff-e197300cb8d1" providerId="ADAL" clId="{35C470DA-8BB2-479D-B2BD-283560908224}" dt="2025-04-22T03:33:33.317" v="2698" actId="20577"/>
          <ac:spMkLst>
            <pc:docMk/>
            <pc:sldMk cId="4036958067" sldId="1810"/>
            <ac:spMk id="12" creationId="{3F49BE1E-6166-8D73-07FD-7ED7B5B4CEC2}"/>
          </ac:spMkLst>
        </pc:spChg>
        <pc:spChg chg="add mod">
          <ac:chgData name="牧野 充希(MAKINO Atsuki)" userId="e1bb11f1-fc18-4a8c-a6ff-e197300cb8d1" providerId="ADAL" clId="{35C470DA-8BB2-479D-B2BD-283560908224}" dt="2025-04-22T03:33:38.158" v="2701" actId="20577"/>
          <ac:spMkLst>
            <pc:docMk/>
            <pc:sldMk cId="4036958067" sldId="1810"/>
            <ac:spMk id="13" creationId="{340947B3-F05D-517A-FFD9-7826CA92BDAC}"/>
          </ac:spMkLst>
        </pc:spChg>
      </pc:sldChg>
    </pc:docChg>
  </pc:docChgLst>
  <pc:docChgLst>
    <pc:chgData name="青山 大介(AOYAMA Daisuke)" userId="62e5c414-f8d4-431e-801f-75ea3be37d37" providerId="ADAL" clId="{AA45675A-C8F9-4F33-9EC3-4396F9B69953}"/>
    <pc:docChg chg="modSld">
      <pc:chgData name="青山 大介(AOYAMA Daisuke)" userId="62e5c414-f8d4-431e-801f-75ea3be37d37" providerId="ADAL" clId="{AA45675A-C8F9-4F33-9EC3-4396F9B69953}" dt="2024-12-26T20:06:49.542" v="5" actId="1076"/>
      <pc:docMkLst>
        <pc:docMk/>
      </pc:docMkLst>
      <pc:sldChg chg="modSp mod">
        <pc:chgData name="青山 大介(AOYAMA Daisuke)" userId="62e5c414-f8d4-431e-801f-75ea3be37d37" providerId="ADAL" clId="{AA45675A-C8F9-4F33-9EC3-4396F9B69953}" dt="2024-12-26T20:06:49.542" v="5" actId="1076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AA45675A-C8F9-4F33-9EC3-4396F9B69953}" dt="2024-12-26T20:06:49.542" v="5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青山 大介(AOYAMA Daisuke)" userId="62e5c414-f8d4-431e-801f-75ea3be37d37" providerId="ADAL" clId="{AA45675A-C8F9-4F33-9EC3-4396F9B69953}" dt="2024-12-26T20:06:35.764" v="4" actId="14100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青山 大介(AOYAMA Daisuke)" userId="62e5c414-f8d4-431e-801f-75ea3be37d37" providerId="ADAL" clId="{AA45675A-C8F9-4F33-9EC3-4396F9B69953}" dt="2024-12-26T20:06:20.206" v="1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澤村 僚(SAWAMURA Ryo)" userId="4cfe6057-f08c-4400-b030-3b1cc012e179" providerId="ADAL" clId="{EAC640A5-805A-4767-A968-EFF0710AE39C}"/>
    <pc:docChg chg="undo custSel addSld delSld modSld sldOrd">
      <pc:chgData name="澤村 僚(SAWAMURA Ryo)" userId="4cfe6057-f08c-4400-b030-3b1cc012e179" providerId="ADAL" clId="{EAC640A5-805A-4767-A968-EFF0710AE39C}" dt="2024-04-24T17:58:27.876" v="1088" actId="2696"/>
      <pc:docMkLst>
        <pc:docMk/>
      </pc:docMkLst>
      <pc:sldChg chg="del">
        <pc:chgData name="澤村 僚(SAWAMURA Ryo)" userId="4cfe6057-f08c-4400-b030-3b1cc012e179" providerId="ADAL" clId="{EAC640A5-805A-4767-A968-EFF0710AE39C}" dt="2024-04-24T09:55:39.168" v="188" actId="47"/>
        <pc:sldMkLst>
          <pc:docMk/>
          <pc:sldMk cId="1703494022" sldId="1794"/>
        </pc:sldMkLst>
      </pc:sldChg>
      <pc:sldChg chg="addSp delSp modSp add del mod">
        <pc:chgData name="澤村 僚(SAWAMURA Ryo)" userId="4cfe6057-f08c-4400-b030-3b1cc012e179" providerId="ADAL" clId="{EAC640A5-805A-4767-A968-EFF0710AE39C}" dt="2024-04-24T17:58:17.305" v="1086" actId="2696"/>
        <pc:sldMkLst>
          <pc:docMk/>
          <pc:sldMk cId="1350526129" sldId="1796"/>
        </pc:sldMkLst>
        <pc:spChg chg="del">
          <ac:chgData name="澤村 僚(SAWAMURA Ryo)" userId="4cfe6057-f08c-4400-b030-3b1cc012e179" providerId="ADAL" clId="{EAC640A5-805A-4767-A968-EFF0710AE39C}" dt="2024-04-24T16:32:22.093" v="253" actId="478"/>
          <ac:spMkLst>
            <pc:docMk/>
            <pc:sldMk cId="1350526129" sldId="1796"/>
            <ac:spMk id="5" creationId="{6740BA51-ED12-9398-0D70-8BBF43161487}"/>
          </ac:spMkLst>
        </pc:spChg>
        <pc:spChg chg="add del mod">
          <ac:chgData name="澤村 僚(SAWAMURA Ryo)" userId="4cfe6057-f08c-4400-b030-3b1cc012e179" providerId="ADAL" clId="{EAC640A5-805A-4767-A968-EFF0710AE39C}" dt="2024-04-24T16:32:26.288" v="254" actId="478"/>
          <ac:spMkLst>
            <pc:docMk/>
            <pc:sldMk cId="1350526129" sldId="1796"/>
            <ac:spMk id="7" creationId="{53FDB7F5-98CF-7C80-283B-DD10CB385218}"/>
          </ac:spMkLst>
        </pc:spChg>
        <pc:spChg chg="add mod">
          <ac:chgData name="澤村 僚(SAWAMURA Ryo)" userId="4cfe6057-f08c-4400-b030-3b1cc012e179" providerId="ADAL" clId="{EAC640A5-805A-4767-A968-EFF0710AE39C}" dt="2024-04-24T16:32:28.119" v="255"/>
          <ac:spMkLst>
            <pc:docMk/>
            <pc:sldMk cId="1350526129" sldId="1796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6:32:45.481" v="266" actId="20577"/>
          <ac:spMkLst>
            <pc:docMk/>
            <pc:sldMk cId="1350526129" sldId="1796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5:17.281" v="873" actId="1076"/>
          <ac:spMkLst>
            <pc:docMk/>
            <pc:sldMk cId="1350526129" sldId="1796"/>
            <ac:spMk id="12" creationId="{FEF77792-B03F-F8AB-D373-EB1AD7A6FC97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29.124" v="1072" actId="20577"/>
          <ac:graphicFrameMkLst>
            <pc:docMk/>
            <pc:sldMk cId="1350526129" sldId="1796"/>
            <ac:graphicFrameMk id="3" creationId="{11C13D6C-87C3-87C3-2D96-4A1678AD8316}"/>
          </ac:graphicFrameMkLst>
        </pc:graphicFrameChg>
        <pc:graphicFrameChg chg="del mod modGraphic">
          <ac:chgData name="澤村 僚(SAWAMURA Ryo)" userId="4cfe6057-f08c-4400-b030-3b1cc012e179" providerId="ADAL" clId="{EAC640A5-805A-4767-A968-EFF0710AE39C}" dt="2024-04-24T17:37:08.193" v="1067" actId="478"/>
          <ac:graphicFrameMkLst>
            <pc:docMk/>
            <pc:sldMk cId="1350526129" sldId="1796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37:18.431" v="1068"/>
          <ac:graphicFrameMkLst>
            <pc:docMk/>
            <pc:sldMk cId="1350526129" sldId="1796"/>
            <ac:graphicFrameMk id="13" creationId="{93224450-9876-480F-2E9B-FE60805529A4}"/>
          </ac:graphicFrameMkLst>
        </pc:graphicFrameChg>
        <pc:picChg chg="del">
          <ac:chgData name="澤村 僚(SAWAMURA Ryo)" userId="4cfe6057-f08c-4400-b030-3b1cc012e179" providerId="ADAL" clId="{EAC640A5-805A-4767-A968-EFF0710AE39C}" dt="2024-04-24T16:12:26.610" v="198" actId="478"/>
          <ac:picMkLst>
            <pc:docMk/>
            <pc:sldMk cId="1350526129" sldId="1796"/>
            <ac:picMk id="9" creationId="{474C1F0E-626D-10C1-5911-BCF40655E7D1}"/>
          </ac:picMkLst>
        </pc:picChg>
        <pc:picChg chg="del">
          <ac:chgData name="澤村 僚(SAWAMURA Ryo)" userId="4cfe6057-f08c-4400-b030-3b1cc012e179" providerId="ADAL" clId="{EAC640A5-805A-4767-A968-EFF0710AE39C}" dt="2024-04-24T16:12:27.546" v="199" actId="478"/>
          <ac:picMkLst>
            <pc:docMk/>
            <pc:sldMk cId="1350526129" sldId="1796"/>
            <ac:picMk id="11" creationId="{D128F067-1019-D0F7-1E0D-3E6CBF8DE812}"/>
          </ac:picMkLst>
        </pc:picChg>
      </pc:sldChg>
      <pc:sldChg chg="del">
        <pc:chgData name="澤村 僚(SAWAMURA Ryo)" userId="4cfe6057-f08c-4400-b030-3b1cc012e179" providerId="ADAL" clId="{EAC640A5-805A-4767-A968-EFF0710AE39C}" dt="2024-04-24T09:29:14.673" v="183" actId="47"/>
        <pc:sldMkLst>
          <pc:docMk/>
          <pc:sldMk cId="1433748239" sldId="1797"/>
        </pc:sldMkLst>
      </pc:sldChg>
      <pc:sldChg chg="del">
        <pc:chgData name="澤村 僚(SAWAMURA Ryo)" userId="4cfe6057-f08c-4400-b030-3b1cc012e179" providerId="ADAL" clId="{EAC640A5-805A-4767-A968-EFF0710AE39C}" dt="2024-04-24T09:14:19.977" v="2" actId="47"/>
        <pc:sldMkLst>
          <pc:docMk/>
          <pc:sldMk cId="1003148262" sldId="1799"/>
        </pc:sldMkLst>
      </pc:sldChg>
      <pc:sldChg chg="addSp modSp add mod">
        <pc:chgData name="澤村 僚(SAWAMURA Ryo)" userId="4cfe6057-f08c-4400-b030-3b1cc012e179" providerId="ADAL" clId="{EAC640A5-805A-4767-A968-EFF0710AE39C}" dt="2024-04-24T09:24:49.439" v="170" actId="1076"/>
        <pc:sldMkLst>
          <pc:docMk/>
          <pc:sldMk cId="786981567" sldId="1800"/>
        </pc:sldMkLst>
        <pc:spChg chg="add mod">
          <ac:chgData name="澤村 僚(SAWAMURA Ryo)" userId="4cfe6057-f08c-4400-b030-3b1cc012e179" providerId="ADAL" clId="{EAC640A5-805A-4767-A968-EFF0710AE39C}" dt="2024-04-24T08:55:42.210" v="1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澤村 僚(SAWAMURA Ryo)" userId="4cfe6057-f08c-4400-b030-3b1cc012e179" providerId="ADAL" clId="{EAC640A5-805A-4767-A968-EFF0710AE39C}" dt="2024-04-24T09:24:49.439" v="170" actId="1076"/>
          <ac:spMkLst>
            <pc:docMk/>
            <pc:sldMk cId="786981567" sldId="1800"/>
            <ac:spMk id="5" creationId="{81D1DB79-8583-A99E-540E-8CB4E3888F88}"/>
          </ac:spMkLst>
        </pc:spChg>
      </pc:sldChg>
      <pc:sldChg chg="modSp add mod">
        <pc:chgData name="澤村 僚(SAWAMURA Ryo)" userId="4cfe6057-f08c-4400-b030-3b1cc012e179" providerId="ADAL" clId="{EAC640A5-805A-4767-A968-EFF0710AE39C}" dt="2024-04-24T17:05:12.517" v="805" actId="20577"/>
        <pc:sldMkLst>
          <pc:docMk/>
          <pc:sldMk cId="1731062681" sldId="1801"/>
        </pc:sldMkLst>
        <pc:graphicFrameChg chg="modGraphic">
          <ac:chgData name="澤村 僚(SAWAMURA Ryo)" userId="4cfe6057-f08c-4400-b030-3b1cc012e179" providerId="ADAL" clId="{EAC640A5-805A-4767-A968-EFF0710AE39C}" dt="2024-04-24T17:05:12.517" v="80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澤村 僚(SAWAMURA Ryo)" userId="4cfe6057-f08c-4400-b030-3b1cc012e179" providerId="ADAL" clId="{EAC640A5-805A-4767-A968-EFF0710AE39C}" dt="2024-04-24T17:08:04.973" v="824" actId="1076"/>
        <pc:sldMkLst>
          <pc:docMk/>
          <pc:sldMk cId="2174853723" sldId="1802"/>
        </pc:sldMkLst>
        <pc:spChg chg="mod">
          <ac:chgData name="澤村 僚(SAWAMURA Ryo)" userId="4cfe6057-f08c-4400-b030-3b1cc012e179" providerId="ADAL" clId="{EAC640A5-805A-4767-A968-EFF0710AE39C}" dt="2024-04-24T17:08:04.973" v="824" actId="107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澤村 僚(SAWAMURA Ryo)" userId="4cfe6057-f08c-4400-b030-3b1cc012e179" providerId="ADAL" clId="{EAC640A5-805A-4767-A968-EFF0710AE39C}" dt="2024-04-24T17:04:56.795" v="797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澤村 僚(SAWAMURA Ryo)" userId="4cfe6057-f08c-4400-b030-3b1cc012e179" providerId="ADAL" clId="{EAC640A5-805A-4767-A968-EFF0710AE39C}" dt="2024-04-24T17:05:27.963" v="80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07:46.325" v="822" actId="1076"/>
          <ac:graphicFrameMkLst>
            <pc:docMk/>
            <pc:sldMk cId="2174853723" sldId="1802"/>
            <ac:graphicFrameMk id="8" creationId="{37C17ED4-31B5-BE1E-4D38-25AA300C4F1B}"/>
          </ac:graphicFrameMkLst>
        </pc:graphicFrameChg>
      </pc:sldChg>
      <pc:sldChg chg="addSp modSp add mod">
        <pc:chgData name="澤村 僚(SAWAMURA Ryo)" userId="4cfe6057-f08c-4400-b030-3b1cc012e179" providerId="ADAL" clId="{EAC640A5-805A-4767-A968-EFF0710AE39C}" dt="2024-04-24T17:05:53.560" v="807" actId="1076"/>
        <pc:sldMkLst>
          <pc:docMk/>
          <pc:sldMk cId="4155459258" sldId="1803"/>
        </pc:sldMkLst>
        <pc:spChg chg="add mod">
          <ac:chgData name="澤村 僚(SAWAMURA Ryo)" userId="4cfe6057-f08c-4400-b030-3b1cc012e179" providerId="ADAL" clId="{EAC640A5-805A-4767-A968-EFF0710AE39C}" dt="2024-04-24T10:38:16.550" v="196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澤村 僚(SAWAMURA Ryo)" userId="4cfe6057-f08c-4400-b030-3b1cc012e179" providerId="ADAL" clId="{EAC640A5-805A-4767-A968-EFF0710AE39C}" dt="2024-04-24T09:59:26.541" v="195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05:53.560" v="807" actId="1076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  <pc:sldChg chg="modSp add del mod">
        <pc:chgData name="澤村 僚(SAWAMURA Ryo)" userId="4cfe6057-f08c-4400-b030-3b1cc012e179" providerId="ADAL" clId="{EAC640A5-805A-4767-A968-EFF0710AE39C}" dt="2024-04-24T17:58:27.876" v="1088" actId="2696"/>
        <pc:sldMkLst>
          <pc:docMk/>
          <pc:sldMk cId="3249850689" sldId="1804"/>
        </pc:sldMkLst>
        <pc:spChg chg="mod">
          <ac:chgData name="澤村 僚(SAWAMURA Ryo)" userId="4cfe6057-f08c-4400-b030-3b1cc012e179" providerId="ADAL" clId="{EAC640A5-805A-4767-A968-EFF0710AE39C}" dt="2024-04-24T17:39:24.600" v="1085" actId="20577"/>
          <ac:spMkLst>
            <pc:docMk/>
            <pc:sldMk cId="3249850689" sldId="1804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33:15.862" v="992" actId="1076"/>
          <ac:graphicFrameMkLst>
            <pc:docMk/>
            <pc:sldMk cId="3249850689" sldId="1804"/>
            <ac:graphicFrameMk id="11" creationId="{ACF7D667-AD41-DFCA-B65A-E63FABE01CF7}"/>
          </ac:graphicFrameMkLst>
        </pc:graphicFrameChg>
      </pc:sldChg>
      <pc:sldChg chg="addSp modSp add del mod">
        <pc:chgData name="澤村 僚(SAWAMURA Ryo)" userId="4cfe6057-f08c-4400-b030-3b1cc012e179" providerId="ADAL" clId="{EAC640A5-805A-4767-A968-EFF0710AE39C}" dt="2024-04-24T17:58:24.852" v="1087" actId="2696"/>
        <pc:sldMkLst>
          <pc:docMk/>
          <pc:sldMk cId="4090880940" sldId="1805"/>
        </pc:sldMkLst>
        <pc:spChg chg="add mod">
          <ac:chgData name="澤村 僚(SAWAMURA Ryo)" userId="4cfe6057-f08c-4400-b030-3b1cc012e179" providerId="ADAL" clId="{EAC640A5-805A-4767-A968-EFF0710AE39C}" dt="2024-04-24T17:07:18.111" v="816" actId="14100"/>
          <ac:spMkLst>
            <pc:docMk/>
            <pc:sldMk cId="4090880940" sldId="1805"/>
            <ac:spMk id="2" creationId="{C1994778-3866-BEC8-9342-771D44BAB01A}"/>
          </ac:spMkLst>
        </pc:spChg>
        <pc:spChg chg="add mod">
          <ac:chgData name="澤村 僚(SAWAMURA Ryo)" userId="4cfe6057-f08c-4400-b030-3b1cc012e179" providerId="ADAL" clId="{EAC640A5-805A-4767-A968-EFF0710AE39C}" dt="2024-04-24T17:14:56.416" v="870" actId="14100"/>
          <ac:spMkLst>
            <pc:docMk/>
            <pc:sldMk cId="4090880940" sldId="1805"/>
            <ac:spMk id="5" creationId="{A15210BD-AC66-5CE5-325A-0EDC77FCB3D5}"/>
          </ac:spMkLst>
        </pc:spChg>
        <pc:spChg chg="add mod">
          <ac:chgData name="澤村 僚(SAWAMURA Ryo)" userId="4cfe6057-f08c-4400-b030-3b1cc012e179" providerId="ADAL" clId="{EAC640A5-805A-4767-A968-EFF0710AE39C}" dt="2024-04-24T17:14:53.550" v="869" actId="1076"/>
          <ac:spMkLst>
            <pc:docMk/>
            <pc:sldMk cId="4090880940" sldId="1805"/>
            <ac:spMk id="7" creationId="{9ABF7236-074C-4D5A-D44E-E46A91B9F70E}"/>
          </ac:spMkLst>
        </pc:spChg>
        <pc:spChg chg="mod">
          <ac:chgData name="澤村 僚(SAWAMURA Ryo)" userId="4cfe6057-f08c-4400-b030-3b1cc012e179" providerId="ADAL" clId="{EAC640A5-805A-4767-A968-EFF0710AE39C}" dt="2024-04-24T17:11:39.972" v="847" actId="403"/>
          <ac:spMkLst>
            <pc:docMk/>
            <pc:sldMk cId="4090880940" sldId="1805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7:15:01.428" v="871" actId="1076"/>
          <ac:spMkLst>
            <pc:docMk/>
            <pc:sldMk cId="4090880940" sldId="1805"/>
            <ac:spMk id="9" creationId="{42BE093D-B1B9-255A-CAEB-C3DD53AD9C2E}"/>
          </ac:spMkLst>
        </pc:spChg>
        <pc:spChg chg="mod">
          <ac:chgData name="澤村 僚(SAWAMURA Ryo)" userId="4cfe6057-f08c-4400-b030-3b1cc012e179" providerId="ADAL" clId="{EAC640A5-805A-4767-A968-EFF0710AE39C}" dt="2024-04-24T17:12:05.575" v="852" actId="1076"/>
          <ac:spMkLst>
            <pc:docMk/>
            <pc:sldMk cId="4090880940" sldId="1805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1:45.561" v="848" actId="1076"/>
          <ac:spMkLst>
            <pc:docMk/>
            <pc:sldMk cId="4090880940" sldId="1805"/>
            <ac:spMk id="11" creationId="{EEB975FB-26C7-0357-CCEF-322789A5818D}"/>
          </ac:spMkLst>
        </pc:spChg>
        <pc:spChg chg="add mod">
          <ac:chgData name="澤村 僚(SAWAMURA Ryo)" userId="4cfe6057-f08c-4400-b030-3b1cc012e179" providerId="ADAL" clId="{EAC640A5-805A-4767-A968-EFF0710AE39C}" dt="2024-04-24T17:15:07.479" v="872" actId="1076"/>
          <ac:spMkLst>
            <pc:docMk/>
            <pc:sldMk cId="4090880940" sldId="1805"/>
            <ac:spMk id="12" creationId="{6C4E6462-2813-BC13-44B8-C16503C007D7}"/>
          </ac:spMkLst>
        </pc:spChg>
        <pc:spChg chg="add mod">
          <ac:chgData name="澤村 僚(SAWAMURA Ryo)" userId="4cfe6057-f08c-4400-b030-3b1cc012e179" providerId="ADAL" clId="{EAC640A5-805A-4767-A968-EFF0710AE39C}" dt="2024-04-24T17:15:29.409" v="874"/>
          <ac:spMkLst>
            <pc:docMk/>
            <pc:sldMk cId="4090880940" sldId="1805"/>
            <ac:spMk id="13" creationId="{87D06DAF-7F72-9DC4-5AFE-EE9A9EB0A7BE}"/>
          </ac:spMkLst>
        </pc:spChg>
        <pc:spChg chg="add mod">
          <ac:chgData name="澤村 僚(SAWAMURA Ryo)" userId="4cfe6057-f08c-4400-b030-3b1cc012e179" providerId="ADAL" clId="{EAC640A5-805A-4767-A968-EFF0710AE39C}" dt="2024-04-24T17:15:46.370" v="876" actId="1076"/>
          <ac:spMkLst>
            <pc:docMk/>
            <pc:sldMk cId="4090880940" sldId="1805"/>
            <ac:spMk id="14" creationId="{4FC6F981-1330-DF0D-54BB-32E00F273C94}"/>
          </ac:spMkLst>
        </pc:spChg>
        <pc:spChg chg="add mod">
          <ac:chgData name="澤村 僚(SAWAMURA Ryo)" userId="4cfe6057-f08c-4400-b030-3b1cc012e179" providerId="ADAL" clId="{EAC640A5-805A-4767-A968-EFF0710AE39C}" dt="2024-04-24T17:15:59.792" v="878" actId="1076"/>
          <ac:spMkLst>
            <pc:docMk/>
            <pc:sldMk cId="4090880940" sldId="1805"/>
            <ac:spMk id="15" creationId="{7A375DE6-AB41-E3C8-757A-C276B44099A3}"/>
          </ac:spMkLst>
        </pc:spChg>
        <pc:spChg chg="add mod">
          <ac:chgData name="澤村 僚(SAWAMURA Ryo)" userId="4cfe6057-f08c-4400-b030-3b1cc012e179" providerId="ADAL" clId="{EAC640A5-805A-4767-A968-EFF0710AE39C}" dt="2024-04-24T17:16:14.931" v="880" actId="1076"/>
          <ac:spMkLst>
            <pc:docMk/>
            <pc:sldMk cId="4090880940" sldId="1805"/>
            <ac:spMk id="16" creationId="{8F868034-9FCA-7B61-B22D-3993BECECB13}"/>
          </ac:spMkLst>
        </pc:spChg>
        <pc:spChg chg="add mod">
          <ac:chgData name="澤村 僚(SAWAMURA Ryo)" userId="4cfe6057-f08c-4400-b030-3b1cc012e179" providerId="ADAL" clId="{EAC640A5-805A-4767-A968-EFF0710AE39C}" dt="2024-04-24T17:36:07.164" v="1057"/>
          <ac:spMkLst>
            <pc:docMk/>
            <pc:sldMk cId="4090880940" sldId="1805"/>
            <ac:spMk id="17" creationId="{A165D4A6-8858-34CA-4309-DD640915EDF5}"/>
          </ac:spMkLst>
        </pc:spChg>
        <pc:spChg chg="add mod">
          <ac:chgData name="澤村 僚(SAWAMURA Ryo)" userId="4cfe6057-f08c-4400-b030-3b1cc012e179" providerId="ADAL" clId="{EAC640A5-805A-4767-A968-EFF0710AE39C}" dt="2024-04-24T17:16:53.348" v="885"/>
          <ac:spMkLst>
            <pc:docMk/>
            <pc:sldMk cId="4090880940" sldId="1805"/>
            <ac:spMk id="18" creationId="{BEB95044-79B3-53FA-1AA2-DBC71FEB4C63}"/>
          </ac:spMkLst>
        </pc:spChg>
        <pc:spChg chg="add mod">
          <ac:chgData name="澤村 僚(SAWAMURA Ryo)" userId="4cfe6057-f08c-4400-b030-3b1cc012e179" providerId="ADAL" clId="{EAC640A5-805A-4767-A968-EFF0710AE39C}" dt="2024-04-24T17:39:07.133" v="1080" actId="20577"/>
          <ac:spMkLst>
            <pc:docMk/>
            <pc:sldMk cId="4090880940" sldId="1805"/>
            <ac:spMk id="19" creationId="{C00D7FAB-EF2E-530E-D0CB-CBA6701ED198}"/>
          </ac:spMkLst>
        </pc:spChg>
        <pc:spChg chg="add mod">
          <ac:chgData name="澤村 僚(SAWAMURA Ryo)" userId="4cfe6057-f08c-4400-b030-3b1cc012e179" providerId="ADAL" clId="{EAC640A5-805A-4767-A968-EFF0710AE39C}" dt="2024-04-24T17:17:28.814" v="893" actId="20577"/>
          <ac:spMkLst>
            <pc:docMk/>
            <pc:sldMk cId="4090880940" sldId="1805"/>
            <ac:spMk id="20" creationId="{DF1765CA-6E12-0D8C-E0F2-6B3C0EF46C0E}"/>
          </ac:spMkLst>
        </pc:spChg>
        <pc:spChg chg="add mod">
          <ac:chgData name="澤村 僚(SAWAMURA Ryo)" userId="4cfe6057-f08c-4400-b030-3b1cc012e179" providerId="ADAL" clId="{EAC640A5-805A-4767-A968-EFF0710AE39C}" dt="2024-04-24T17:17:44.031" v="895"/>
          <ac:spMkLst>
            <pc:docMk/>
            <pc:sldMk cId="4090880940" sldId="1805"/>
            <ac:spMk id="22" creationId="{FE4080B5-1B23-D03A-5CAE-5E2B7671DB3F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36.717" v="1076" actId="20577"/>
          <ac:graphicFrameMkLst>
            <pc:docMk/>
            <pc:sldMk cId="4090880940" sldId="1805"/>
            <ac:graphicFrameMk id="3" creationId="{11C13D6C-87C3-87C3-2D96-4A1678AD8316}"/>
          </ac:graphicFrameMkLst>
        </pc:graphicFrameChg>
        <pc:graphicFrameChg chg="mod modGraphic">
          <ac:chgData name="澤村 僚(SAWAMURA Ryo)" userId="4cfe6057-f08c-4400-b030-3b1cc012e179" providerId="ADAL" clId="{EAC640A5-805A-4767-A968-EFF0710AE39C}" dt="2024-04-24T17:36:36.770" v="1062" actId="1076"/>
          <ac:graphicFrameMkLst>
            <pc:docMk/>
            <pc:sldMk cId="4090880940" sldId="1805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17:31.256" v="894"/>
          <ac:graphicFrameMkLst>
            <pc:docMk/>
            <pc:sldMk cId="4090880940" sldId="1805"/>
            <ac:graphicFrameMk id="21" creationId="{B1B4F11B-162D-410B-4338-10F05DEA1555}"/>
          </ac:graphicFrameMkLst>
        </pc:graphicFrameChg>
      </pc:sldChg>
      <pc:sldChg chg="add del ord">
        <pc:chgData name="澤村 僚(SAWAMURA Ryo)" userId="4cfe6057-f08c-4400-b030-3b1cc012e179" providerId="ADAL" clId="{EAC640A5-805A-4767-A968-EFF0710AE39C}" dt="2024-04-24T17:17:50.601" v="896" actId="47"/>
        <pc:sldMkLst>
          <pc:docMk/>
          <pc:sldMk cId="521544119" sldId="1806"/>
        </pc:sldMkLst>
      </pc:sldChg>
    </pc:docChg>
  </pc:docChgLst>
  <pc:docChgLst>
    <pc:chgData name="牧野 充希(MAKINO Atsuki)" userId="e1bb11f1-fc18-4a8c-a6ff-e197300cb8d1" providerId="ADAL" clId="{2D0814DC-038E-4566-A7DE-7C8C2873F60A}"/>
    <pc:docChg chg="custSel modSld">
      <pc:chgData name="牧野 充希(MAKINO Atsuki)" userId="e1bb11f1-fc18-4a8c-a6ff-e197300cb8d1" providerId="ADAL" clId="{2D0814DC-038E-4566-A7DE-7C8C2873F60A}" dt="2025-04-26T06:07:38.677" v="131"/>
      <pc:docMkLst>
        <pc:docMk/>
      </pc:docMkLst>
      <pc:sldChg chg="modSp mod">
        <pc:chgData name="牧野 充希(MAKINO Atsuki)" userId="e1bb11f1-fc18-4a8c-a6ff-e197300cb8d1" providerId="ADAL" clId="{2D0814DC-038E-4566-A7DE-7C8C2873F60A}" dt="2025-04-23T13:22:17.983" v="13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2D0814DC-038E-4566-A7DE-7C8C2873F60A}" dt="2025-04-23T13:22:17.983" v="13" actId="20577"/>
          <ac:spMkLst>
            <pc:docMk/>
            <pc:sldMk cId="4155459258" sldId="1803"/>
            <ac:spMk id="2" creationId="{CAA6AC28-4973-3211-157C-4AD1E7CE6B10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09.474" v="100"/>
        <pc:sldMkLst>
          <pc:docMk/>
          <pc:sldMk cId="3494048592" sldId="1805"/>
        </pc:sldMkLst>
        <pc:spChg chg="add mod">
          <ac:chgData name="牧野 充希(MAKINO Atsuki)" userId="e1bb11f1-fc18-4a8c-a6ff-e197300cb8d1" providerId="ADAL" clId="{2D0814DC-038E-4566-A7DE-7C8C2873F60A}" dt="2025-04-26T06:07:09.474" v="100"/>
          <ac:spMkLst>
            <pc:docMk/>
            <pc:sldMk cId="3494048592" sldId="1805"/>
            <ac:spMk id="2" creationId="{8B8B689B-0EF5-CB3B-31C4-06DA6CDF85D6}"/>
          </ac:spMkLst>
        </pc:spChg>
        <pc:spChg chg="del">
          <ac:chgData name="牧野 充希(MAKINO Atsuki)" userId="e1bb11f1-fc18-4a8c-a6ff-e197300cb8d1" providerId="ADAL" clId="{2D0814DC-038E-4566-A7DE-7C8C2873F60A}" dt="2025-04-26T06:07:08.847" v="99" actId="478"/>
          <ac:spMkLst>
            <pc:docMk/>
            <pc:sldMk cId="3494048592" sldId="1805"/>
            <ac:spMk id="10" creationId="{35543A15-5B1D-8CB3-2CC6-E1EA7F2D4B43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2.492" v="102"/>
        <pc:sldMkLst>
          <pc:docMk/>
          <pc:sldMk cId="1539400230" sldId="1806"/>
        </pc:sldMkLst>
        <pc:spChg chg="add mod">
          <ac:chgData name="牧野 充希(MAKINO Atsuki)" userId="e1bb11f1-fc18-4a8c-a6ff-e197300cb8d1" providerId="ADAL" clId="{2D0814DC-038E-4566-A7DE-7C8C2873F60A}" dt="2025-04-26T06:07:12.492" v="102"/>
          <ac:spMkLst>
            <pc:docMk/>
            <pc:sldMk cId="1539400230" sldId="1806"/>
            <ac:spMk id="10" creationId="{EE80382C-EA5F-177D-A449-360CA49CB918}"/>
          </ac:spMkLst>
        </pc:spChg>
        <pc:spChg chg="del">
          <ac:chgData name="牧野 充希(MAKINO Atsuki)" userId="e1bb11f1-fc18-4a8c-a6ff-e197300cb8d1" providerId="ADAL" clId="{2D0814DC-038E-4566-A7DE-7C8C2873F60A}" dt="2025-04-26T06:07:12.240" v="101" actId="478"/>
          <ac:spMkLst>
            <pc:docMk/>
            <pc:sldMk cId="1539400230" sldId="1806"/>
            <ac:spMk id="15" creationId="{C5F075E2-7332-766F-8FA3-BD6D4A460ED7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7.018" v="104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2D0814DC-038E-4566-A7DE-7C8C2873F60A}" dt="2025-04-23T13:22:32.764" v="61" actId="20577"/>
          <ac:spMkLst>
            <pc:docMk/>
            <pc:sldMk cId="3361803510" sldId="1807"/>
            <ac:spMk id="2" creationId="{CAA6AC28-4973-3211-157C-4AD1E7CE6B10}"/>
          </ac:spMkLst>
        </pc:spChg>
        <pc:spChg chg="add mod">
          <ac:chgData name="牧野 充希(MAKINO Atsuki)" userId="e1bb11f1-fc18-4a8c-a6ff-e197300cb8d1" providerId="ADAL" clId="{2D0814DC-038E-4566-A7DE-7C8C2873F60A}" dt="2025-04-26T06:07:17.018" v="104"/>
          <ac:spMkLst>
            <pc:docMk/>
            <pc:sldMk cId="3361803510" sldId="1807"/>
            <ac:spMk id="3" creationId="{47638803-8A90-8E65-0A3E-262EF3AEF946}"/>
          </ac:spMkLst>
        </pc:spChg>
        <pc:spChg chg="del">
          <ac:chgData name="牧野 充希(MAKINO Atsuki)" userId="e1bb11f1-fc18-4a8c-a6ff-e197300cb8d1" providerId="ADAL" clId="{2D0814DC-038E-4566-A7DE-7C8C2873F60A}" dt="2025-04-26T06:07:16.798" v="103" actId="478"/>
          <ac:spMkLst>
            <pc:docMk/>
            <pc:sldMk cId="3361803510" sldId="1807"/>
            <ac:spMk id="4" creationId="{46D89142-794A-1C69-7B9D-A6954B332BED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5.309" v="129"/>
        <pc:sldMkLst>
          <pc:docMk/>
          <pc:sldMk cId="2260495983" sldId="1808"/>
        </pc:sldMkLst>
        <pc:spChg chg="add mod">
          <ac:chgData name="牧野 充希(MAKINO Atsuki)" userId="e1bb11f1-fc18-4a8c-a6ff-e197300cb8d1" providerId="ADAL" clId="{2D0814DC-038E-4566-A7DE-7C8C2873F60A}" dt="2025-04-26T06:07:35.309" v="129"/>
          <ac:spMkLst>
            <pc:docMk/>
            <pc:sldMk cId="2260495983" sldId="1808"/>
            <ac:spMk id="4" creationId="{0D89987C-8826-47D4-3539-C1F5CF9F82B9}"/>
          </ac:spMkLst>
        </pc:spChg>
        <pc:spChg chg="del">
          <ac:chgData name="牧野 充希(MAKINO Atsuki)" userId="e1bb11f1-fc18-4a8c-a6ff-e197300cb8d1" providerId="ADAL" clId="{2D0814DC-038E-4566-A7DE-7C8C2873F60A}" dt="2025-04-26T06:07:35.105" v="128" actId="478"/>
          <ac:spMkLst>
            <pc:docMk/>
            <pc:sldMk cId="2260495983" sldId="1808"/>
            <ac:spMk id="9" creationId="{D4562A9B-C477-BA42-D1FF-B61BF4C1BE52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8.677" v="131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2D0814DC-038E-4566-A7DE-7C8C2873F60A}" dt="2025-04-23T13:22:44.063" v="98" actId="20577"/>
          <ac:spMkLst>
            <pc:docMk/>
            <pc:sldMk cId="2538732313" sldId="1809"/>
            <ac:spMk id="2" creationId="{CAA6AC28-4973-3211-157C-4AD1E7CE6B10}"/>
          </ac:spMkLst>
        </pc:spChg>
        <pc:spChg chg="del">
          <ac:chgData name="牧野 充希(MAKINO Atsuki)" userId="e1bb11f1-fc18-4a8c-a6ff-e197300cb8d1" providerId="ADAL" clId="{2D0814DC-038E-4566-A7DE-7C8C2873F60A}" dt="2025-04-26T06:07:38.452" v="130" actId="478"/>
          <ac:spMkLst>
            <pc:docMk/>
            <pc:sldMk cId="2538732313" sldId="1809"/>
            <ac:spMk id="3" creationId="{AD7D05FE-EB06-CABF-3A71-2F35A962C383}"/>
          </ac:spMkLst>
        </pc:spChg>
        <pc:spChg chg="add mod">
          <ac:chgData name="牧野 充希(MAKINO Atsuki)" userId="e1bb11f1-fc18-4a8c-a6ff-e197300cb8d1" providerId="ADAL" clId="{2D0814DC-038E-4566-A7DE-7C8C2873F60A}" dt="2025-04-26T06:07:38.677" v="131"/>
          <ac:spMkLst>
            <pc:docMk/>
            <pc:sldMk cId="2538732313" sldId="1809"/>
            <ac:spMk id="4" creationId="{A0283E34-6CE4-38AE-001B-CB03E147141C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28.488" v="127" actId="20577"/>
        <pc:sldMkLst>
          <pc:docMk/>
          <pc:sldMk cId="4267065186" sldId="1812"/>
        </pc:sldMkLst>
        <pc:spChg chg="add mod">
          <ac:chgData name="牧野 充希(MAKINO Atsuki)" userId="e1bb11f1-fc18-4a8c-a6ff-e197300cb8d1" providerId="ADAL" clId="{2D0814DC-038E-4566-A7DE-7C8C2873F60A}" dt="2025-04-26T06:07:28.488" v="127" actId="20577"/>
          <ac:spMkLst>
            <pc:docMk/>
            <pc:sldMk cId="4267065186" sldId="1812"/>
            <ac:spMk id="4" creationId="{6EB9ACD8-7245-C858-ECE5-748387CAD09F}"/>
          </ac:spMkLst>
        </pc:spChg>
        <pc:spChg chg="del">
          <ac:chgData name="牧野 充希(MAKINO Atsuki)" userId="e1bb11f1-fc18-4a8c-a6ff-e197300cb8d1" providerId="ADAL" clId="{2D0814DC-038E-4566-A7DE-7C8C2873F60A}" dt="2025-04-26T06:07:20.209" v="105" actId="478"/>
          <ac:spMkLst>
            <pc:docMk/>
            <pc:sldMk cId="4267065186" sldId="1812"/>
            <ac:spMk id="9" creationId="{D4562A9B-C477-BA42-D1FF-B61BF4C1BE52}"/>
          </ac:spMkLst>
        </pc:spChg>
      </pc:sldChg>
    </pc:docChg>
  </pc:docChgLst>
  <pc:docChgLst>
    <pc:chgData name="牧野 英明(MAKINO Hideaki)" userId="S::hideaki.makino.d3z@cas.go.jp::a4f77797-a96b-4200-9bec-45822309ec52" providerId="AD" clId="Web-{C0AABB3F-F403-465D-AF7E-47116D17FB38}"/>
    <pc:docChg chg="modSld">
      <pc:chgData name="牧野 英明(MAKINO Hideaki)" userId="S::hideaki.makino.d3z@cas.go.jp::a4f77797-a96b-4200-9bec-45822309ec52" providerId="AD" clId="Web-{C0AABB3F-F403-465D-AF7E-47116D17FB38}" dt="2025-04-21T01:24:20.893" v="1"/>
      <pc:docMkLst>
        <pc:docMk/>
      </pc:docMkLst>
      <pc:sldChg chg="modSp">
        <pc:chgData name="牧野 英明(MAKINO Hideaki)" userId="S::hideaki.makino.d3z@cas.go.jp::a4f77797-a96b-4200-9bec-45822309ec52" providerId="AD" clId="Web-{C0AABB3F-F403-465D-AF7E-47116D17FB38}" dt="2025-04-21T01:24:20.893" v="1"/>
        <pc:sldMkLst>
          <pc:docMk/>
          <pc:sldMk cId="1731062681" sldId="1801"/>
        </pc:sldMkLst>
        <pc:graphicFrameChg chg="mod modGraphic">
          <ac:chgData name="牧野 英明(MAKINO Hideaki)" userId="S::hideaki.makino.d3z@cas.go.jp::a4f77797-a96b-4200-9bec-45822309ec52" providerId="AD" clId="Web-{C0AABB3F-F403-465D-AF7E-47116D17FB38}" dt="2025-04-21T01:24:20.893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090D3D48-C4A9-4517-93AA-0E2D39FAAE00}"/>
    <pc:docChg chg="undo redo custSel modSld">
      <pc:chgData name="澤村 僚(SAWAMURA Ryo)" userId="4cfe6057-f08c-4400-b030-3b1cc012e179" providerId="ADAL" clId="{090D3D48-C4A9-4517-93AA-0E2D39FAAE00}" dt="2025-01-17T06:22:07.851" v="7" actId="14100"/>
      <pc:docMkLst>
        <pc:docMk/>
      </pc:docMkLst>
      <pc:sldChg chg="modSp mod">
        <pc:chgData name="澤村 僚(SAWAMURA Ryo)" userId="4cfe6057-f08c-4400-b030-3b1cc012e179" providerId="ADAL" clId="{090D3D48-C4A9-4517-93AA-0E2D39FAAE00}" dt="2025-01-17T06:22:07.851" v="7" actId="14100"/>
        <pc:sldMkLst>
          <pc:docMk/>
          <pc:sldMk cId="786981567" sldId="1800"/>
        </pc:sldMkLst>
        <pc:spChg chg="mod">
          <ac:chgData name="澤村 僚(SAWAMURA Ryo)" userId="4cfe6057-f08c-4400-b030-3b1cc012e179" providerId="ADAL" clId="{090D3D48-C4A9-4517-93AA-0E2D39FAAE00}" dt="2025-01-17T06:22:07.851" v="7" actId="14100"/>
          <ac:spMkLst>
            <pc:docMk/>
            <pc:sldMk cId="786981567" sldId="1800"/>
            <ac:spMk id="2" creationId="{5F2D8408-1CA6-F273-B2C3-DAE07E0C2F44}"/>
          </ac:spMkLst>
        </pc:spChg>
      </pc:sldChg>
    </pc:docChg>
  </pc:docChgLst>
  <pc:docChgLst>
    <pc:chgData name="佐々木 琢磨(SASAKI Takuma)" userId="6d4c5d6b-d31e-4202-b663-3f2819138080" providerId="ADAL" clId="{F942436F-2B40-4AE2-A117-971FDF502CE1}"/>
    <pc:docChg chg="modSld">
      <pc:chgData name="佐々木 琢磨(SASAKI Takuma)" userId="6d4c5d6b-d31e-4202-b663-3f2819138080" providerId="ADAL" clId="{F942436F-2B40-4AE2-A117-971FDF502CE1}" dt="2024-02-21T01:50:54.962" v="9" actId="20577"/>
      <pc:docMkLst>
        <pc:docMk/>
      </pc:docMkLst>
      <pc:sldChg chg="modSp mod">
        <pc:chgData name="佐々木 琢磨(SASAKI Takuma)" userId="6d4c5d6b-d31e-4202-b663-3f2819138080" providerId="ADAL" clId="{F942436F-2B40-4AE2-A117-971FDF502CE1}" dt="2024-02-21T01:50:54.962" v="9" actId="20577"/>
        <pc:sldMkLst>
          <pc:docMk/>
          <pc:sldMk cId="1003148262" sldId="1799"/>
        </pc:sldMkLst>
        <pc:spChg chg="mod">
          <ac:chgData name="佐々木 琢磨(SASAKI Takuma)" userId="6d4c5d6b-d31e-4202-b663-3f2819138080" providerId="ADAL" clId="{F942436F-2B40-4AE2-A117-971FDF502CE1}" dt="2024-02-21T01:50:54.962" v="9" actId="20577"/>
          <ac:spMkLst>
            <pc:docMk/>
            <pc:sldMk cId="1003148262" sldId="1799"/>
            <ac:spMk id="5" creationId="{81D1DB79-8583-A99E-540E-8CB4E3888F88}"/>
          </ac:spMkLst>
        </pc:spChg>
      </pc:sldChg>
    </pc:docChg>
  </pc:docChgLst>
  <pc:docChgLst>
    <pc:chgData name="牧野 充希(MAKINO Atsuki)" userId="e1bb11f1-fc18-4a8c-a6ff-e197300cb8d1" providerId="ADAL" clId="{62639E53-6170-4F0D-B81B-318B9AA7474F}"/>
    <pc:docChg chg="undo custSel modSld">
      <pc:chgData name="牧野 充希(MAKINO Atsuki)" userId="e1bb11f1-fc18-4a8c-a6ff-e197300cb8d1" providerId="ADAL" clId="{62639E53-6170-4F0D-B81B-318B9AA7474F}" dt="2025-04-18T12:36:49.367" v="151" actId="14100"/>
      <pc:docMkLst>
        <pc:docMk/>
      </pc:docMkLst>
      <pc:sldChg chg="addSp delSp modSp mod">
        <pc:chgData name="牧野 充希(MAKINO Atsuki)" userId="e1bb11f1-fc18-4a8c-a6ff-e197300cb8d1" providerId="ADAL" clId="{62639E53-6170-4F0D-B81B-318B9AA7474F}" dt="2025-04-18T12:36:49.367" v="151" actId="14100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62639E53-6170-4F0D-B81B-318B9AA7474F}" dt="2025-04-18T12:36:49.367" v="151" actId="14100"/>
          <ac:spMkLst>
            <pc:docMk/>
            <pc:sldMk cId="786981567" sldId="1800"/>
            <ac:spMk id="2" creationId="{5F2D8408-1CA6-F273-B2C3-DAE07E0C2F44}"/>
          </ac:spMkLst>
        </pc:spChg>
        <pc:spChg chg="add del">
          <ac:chgData name="牧野 充希(MAKINO Atsuki)" userId="e1bb11f1-fc18-4a8c-a6ff-e197300cb8d1" providerId="ADAL" clId="{62639E53-6170-4F0D-B81B-318B9AA7474F}" dt="2025-04-18T12:36:40.159" v="141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62639E53-6170-4F0D-B81B-318B9AA7474F}" dt="2025-04-18T12:36:39.892" v="139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西村 笙平(NISHIMURA Shohei)" userId="d08d2c33-9814-43fe-9d7b-ea3e5d006c86" providerId="ADAL" clId="{AABF1FB4-B69B-44D7-A2FB-F857DDDC3A61}"/>
    <pc:docChg chg="undo custSel addSld delSld modSld modSection">
      <pc:chgData name="西村 笙平(NISHIMURA Shohei)" userId="d08d2c33-9814-43fe-9d7b-ea3e5d006c86" providerId="ADAL" clId="{AABF1FB4-B69B-44D7-A2FB-F857DDDC3A61}" dt="2025-04-15T05:32:32.402" v="884" actId="478"/>
      <pc:docMkLst>
        <pc:docMk/>
      </pc:docMkLst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927059807" sldId="1764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927059807" sldId="1764"/>
            <ac:spMk id="18" creationId="{045734C6-2283-9884-2A64-78EFE34E5FB9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786981567" sldId="1800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西村 笙平(NISHIMURA Shohei)" userId="d08d2c33-9814-43fe-9d7b-ea3e5d006c86" providerId="ADAL" clId="{AABF1FB4-B69B-44D7-A2FB-F857DDDC3A61}" dt="2025-04-15T05:19:29.948" v="883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AABF1FB4-B69B-44D7-A2FB-F857DDDC3A61}" dt="2025-04-15T05:19:29.948" v="883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del mod">
        <pc:chgData name="西村 笙平(NISHIMURA Shohei)" userId="d08d2c33-9814-43fe-9d7b-ea3e5d006c86" providerId="ADAL" clId="{AABF1FB4-B69B-44D7-A2FB-F857DDDC3A61}" dt="2025-04-15T05:18:17.306" v="881" actId="47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174853723" sldId="1802"/>
            <ac:spMk id="21" creationId="{1CE48F07-2263-E2AB-D2E2-821FF0157F73}"/>
          </ac:spMkLst>
        </pc:spChg>
        <pc:graphicFrameChg chg="mod modGraphic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delSp modSp add del mod">
        <pc:chgData name="西村 笙平(NISHIMURA Shohei)" userId="d08d2c33-9814-43fe-9d7b-ea3e5d006c86" providerId="ADAL" clId="{AABF1FB4-B69B-44D7-A2FB-F857DDDC3A61}" dt="2025-04-15T05:32:32.402" v="884" actId="478"/>
        <pc:sldMkLst>
          <pc:docMk/>
          <pc:sldMk cId="4155459258" sldId="1803"/>
        </pc:sldMkLst>
        <pc:spChg chg="del">
          <ac:chgData name="西村 笙平(NISHIMURA Shohei)" userId="d08d2c33-9814-43fe-9d7b-ea3e5d006c86" providerId="ADAL" clId="{AABF1FB4-B69B-44D7-A2FB-F857DDDC3A61}" dt="2025-04-15T05:32:32.402" v="884" actId="478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AABF1FB4-B69B-44D7-A2FB-F857DDDC3A61}" dt="2025-04-10T04:29:24.449" v="868" actId="1035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AABF1FB4-B69B-44D7-A2FB-F857DDDC3A61}" dt="2025-04-10T04:29:24.449" v="868" actId="1035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add del mod">
        <pc:chgData name="西村 笙平(NISHIMURA Shohei)" userId="d08d2c33-9814-43fe-9d7b-ea3e5d006c86" providerId="ADAL" clId="{AABF1FB4-B69B-44D7-A2FB-F857DDDC3A61}" dt="2025-04-15T04:54:26.034" v="878" actId="47"/>
        <pc:sldMkLst>
          <pc:docMk/>
          <pc:sldMk cId="3494048592" sldId="1805"/>
        </pc:sldMkLst>
        <pc:graphicFrameChg chg="mod modGraphic">
          <ac:chgData name="西村 笙平(NISHIMURA Shohei)" userId="d08d2c33-9814-43fe-9d7b-ea3e5d006c86" providerId="ADAL" clId="{AABF1FB4-B69B-44D7-A2FB-F857DDDC3A61}" dt="2025-04-10T04:40:20.290" v="874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539400230" sldId="1806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539400230" sldId="1806"/>
            <ac:spMk id="21" creationId="{1CE48F07-2263-E2AB-D2E2-821FF0157F73}"/>
          </ac:spMkLst>
        </pc:spChg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3361803510" sldId="1807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3361803510" sldId="1807"/>
            <ac:spMk id="8" creationId="{D7FDF8F7-1165-88FF-2A7D-D571C1D4BFAE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260495983" sldId="1808"/>
        </pc:sldMkLst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538732313" sldId="1809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538732313" sldId="1809"/>
            <ac:spMk id="8" creationId="{D7FDF8F7-1165-88FF-2A7D-D571C1D4BFAE}"/>
          </ac:spMkLst>
        </pc:spChg>
      </pc:sldChg>
    </pc:docChg>
  </pc:docChgLst>
  <pc:docChgLst>
    <pc:chgData name="青山 大介(AOYAMA Daisuke)" userId="62e5c414-f8d4-431e-801f-75ea3be37d37" providerId="ADAL" clId="{9E185482-EDA2-424D-97B1-CFF725EDFC3E}"/>
    <pc:docChg chg="undo custSel modSld">
      <pc:chgData name="青山 大介(AOYAMA Daisuke)" userId="62e5c414-f8d4-431e-801f-75ea3be37d37" providerId="ADAL" clId="{9E185482-EDA2-424D-97B1-CFF725EDFC3E}" dt="2024-12-25T04:54:50.699" v="553" actId="1076"/>
      <pc:docMkLst>
        <pc:docMk/>
      </pc:docMkLst>
      <pc:sldChg chg="modSp mod">
        <pc:chgData name="青山 大介(AOYAMA Daisuke)" userId="62e5c414-f8d4-431e-801f-75ea3be37d37" providerId="ADAL" clId="{9E185482-EDA2-424D-97B1-CFF725EDFC3E}" dt="2024-12-18T03:16:05.484" v="105" actId="20577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9E185482-EDA2-424D-97B1-CFF725EDFC3E}" dt="2024-12-18T03:16:05.484" v="105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青山 大介(AOYAMA Daisuke)" userId="62e5c414-f8d4-431e-801f-75ea3be37d37" providerId="ADAL" clId="{9E185482-EDA2-424D-97B1-CFF725EDFC3E}" dt="2024-12-18T03:38:47.960" v="267" actId="20577"/>
        <pc:sldMkLst>
          <pc:docMk/>
          <pc:sldMk cId="1731062681" sldId="1801"/>
        </pc:sldMkLst>
        <pc:graphicFrameChg chg="mod modGraphic">
          <ac:chgData name="青山 大介(AOYAMA Daisuke)" userId="62e5c414-f8d4-431e-801f-75ea3be37d37" providerId="ADAL" clId="{9E185482-EDA2-424D-97B1-CFF725EDFC3E}" dt="2024-12-18T03:38:47.960" v="2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青山 大介(AOYAMA Daisuke)" userId="62e5c414-f8d4-431e-801f-75ea3be37d37" providerId="ADAL" clId="{9E185482-EDA2-424D-97B1-CFF725EDFC3E}" dt="2024-12-25T04:54:50.699" v="553" actId="1076"/>
        <pc:sldMkLst>
          <pc:docMk/>
          <pc:sldMk cId="2174853723" sldId="1802"/>
        </pc:sldMkLst>
        <pc:spChg chg="del">
          <ac:chgData name="青山 大介(AOYAMA Daisuke)" userId="62e5c414-f8d4-431e-801f-75ea3be37d37" providerId="ADAL" clId="{9E185482-EDA2-424D-97B1-CFF725EDFC3E}" dt="2024-12-18T03:14:41.471" v="87" actId="478"/>
          <ac:spMkLst>
            <pc:docMk/>
            <pc:sldMk cId="2174853723" sldId="1802"/>
            <ac:spMk id="10" creationId="{35543A15-5B1D-8CB3-2CC6-E1EA7F2D4B43}"/>
          </ac:spMkLst>
        </pc:spChg>
        <pc:spChg chg="add mod">
          <ac:chgData name="青山 大介(AOYAMA Daisuke)" userId="62e5c414-f8d4-431e-801f-75ea3be37d37" providerId="ADAL" clId="{9E185482-EDA2-424D-97B1-CFF725EDFC3E}" dt="2024-12-25T04:54:50.699" v="553" actId="1076"/>
          <ac:spMkLst>
            <pc:docMk/>
            <pc:sldMk cId="2174853723" sldId="1802"/>
            <ac:spMk id="10" creationId="{AE83D439-A02B-2203-E29F-63C55A204C31}"/>
          </ac:spMkLst>
        </pc:spChg>
        <pc:spChg chg="mod">
          <ac:chgData name="青山 大介(AOYAMA Daisuke)" userId="62e5c414-f8d4-431e-801f-75ea3be37d37" providerId="ADAL" clId="{9E185482-EDA2-424D-97B1-CFF725EDFC3E}" dt="2024-12-18T03:44:03.321" v="520" actId="1076"/>
          <ac:spMkLst>
            <pc:docMk/>
            <pc:sldMk cId="2174853723" sldId="1802"/>
            <ac:spMk id="14" creationId="{335D6C43-1401-4A58-26FF-C604454F13FF}"/>
          </ac:spMkLst>
        </pc:spChg>
        <pc:spChg chg="mod">
          <ac:chgData name="青山 大介(AOYAMA Daisuke)" userId="62e5c414-f8d4-431e-801f-75ea3be37d37" providerId="ADAL" clId="{9E185482-EDA2-424D-97B1-CFF725EDFC3E}" dt="2024-12-18T03:43:57.380" v="519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青山 大介(AOYAMA Daisuke)" userId="62e5c414-f8d4-431e-801f-75ea3be37d37" providerId="ADAL" clId="{9E185482-EDA2-424D-97B1-CFF725EDFC3E}" dt="2024-12-18T03:41:57.775" v="439" actId="179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青山 大介(AOYAMA Daisuke)" userId="62e5c414-f8d4-431e-801f-75ea3be37d37" providerId="ADAL" clId="{9E185482-EDA2-424D-97B1-CFF725EDFC3E}" dt="2024-12-25T04:47:49.935" v="52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del modGraphic">
          <ac:chgData name="青山 大介(AOYAMA Daisuke)" userId="62e5c414-f8d4-431e-801f-75ea3be37d37" providerId="ADAL" clId="{9E185482-EDA2-424D-97B1-CFF725EDFC3E}" dt="2024-12-18T03:39:26.260" v="270" actId="478"/>
          <ac:graphicFrameMkLst>
            <pc:docMk/>
            <pc:sldMk cId="2174853723" sldId="1802"/>
            <ac:graphicFrameMk id="8" creationId="{37C17ED4-31B5-BE1E-4D38-25AA300C4F1B}"/>
          </ac:graphicFrameMkLst>
        </pc:graphicFrameChg>
        <pc:graphicFrameChg chg="add mod ord">
          <ac:chgData name="青山 大介(AOYAMA Daisuke)" userId="62e5c414-f8d4-431e-801f-75ea3be37d37" providerId="ADAL" clId="{9E185482-EDA2-424D-97B1-CFF725EDFC3E}" dt="2024-12-18T03:39:38.042" v="272" actId="167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del">
          <ac:chgData name="青山 大介(AOYAMA Daisuke)" userId="62e5c414-f8d4-431e-801f-75ea3be37d37" providerId="ADAL" clId="{9E185482-EDA2-424D-97B1-CFF725EDFC3E}" dt="2024-12-25T04:54:43.940" v="550" actId="478"/>
          <ac:graphicFrameMkLst>
            <pc:docMk/>
            <pc:sldMk cId="2174853723" sldId="1802"/>
            <ac:graphicFrameMk id="27" creationId="{5854502F-3CF4-C0E0-573D-8CEB2F7A9B1F}"/>
          </ac:graphicFrameMkLst>
        </pc:graphicFrameChg>
        <pc:picChg chg="add mod">
          <ac:chgData name="青山 大介(AOYAMA Daisuke)" userId="62e5c414-f8d4-431e-801f-75ea3be37d37" providerId="ADAL" clId="{9E185482-EDA2-424D-97B1-CFF725EDFC3E}" dt="2024-12-25T04:54:50.699" v="553" actId="1076"/>
          <ac:picMkLst>
            <pc:docMk/>
            <pc:sldMk cId="2174853723" sldId="1802"/>
            <ac:picMk id="8" creationId="{00D4F10C-B18B-7776-588A-4A375C0A50E6}"/>
          </ac:picMkLst>
        </pc:picChg>
      </pc:sldChg>
      <pc:sldChg chg="addSp delSp modSp mod">
        <pc:chgData name="青山 大介(AOYAMA Daisuke)" userId="62e5c414-f8d4-431e-801f-75ea3be37d37" providerId="ADAL" clId="{9E185482-EDA2-424D-97B1-CFF725EDFC3E}" dt="2024-12-25T04:52:59.456" v="549" actId="14100"/>
        <pc:sldMkLst>
          <pc:docMk/>
          <pc:sldMk cId="4155459258" sldId="1803"/>
        </pc:sldMkLst>
        <pc:spChg chg="mod">
          <ac:chgData name="青山 大介(AOYAMA Daisuke)" userId="62e5c414-f8d4-431e-801f-75ea3be37d37" providerId="ADAL" clId="{9E185482-EDA2-424D-97B1-CFF725EDFC3E}" dt="2024-12-18T03:43:10.921" v="457" actId="20577"/>
          <ac:spMkLst>
            <pc:docMk/>
            <pc:sldMk cId="4155459258" sldId="1803"/>
            <ac:spMk id="8" creationId="{D7FDF8F7-1165-88FF-2A7D-D571C1D4BFAE}"/>
          </ac:spMkLst>
        </pc:spChg>
        <pc:spChg chg="add mod">
          <ac:chgData name="青山 大介(AOYAMA Daisuke)" userId="62e5c414-f8d4-431e-801f-75ea3be37d37" providerId="ADAL" clId="{9E185482-EDA2-424D-97B1-CFF725EDFC3E}" dt="2024-12-25T04:52:59.456" v="549" actId="14100"/>
          <ac:spMkLst>
            <pc:docMk/>
            <pc:sldMk cId="4155459258" sldId="1803"/>
            <ac:spMk id="12" creationId="{9C579815-7452-6922-211C-0C151841D94C}"/>
          </ac:spMkLst>
        </pc:spChg>
        <pc:graphicFrameChg chg="del mod">
          <ac:chgData name="青山 大介(AOYAMA Daisuke)" userId="62e5c414-f8d4-431e-801f-75ea3be37d37" providerId="ADAL" clId="{9E185482-EDA2-424D-97B1-CFF725EDFC3E}" dt="2024-12-25T04:52:19.314" v="542" actId="478"/>
          <ac:graphicFrameMkLst>
            <pc:docMk/>
            <pc:sldMk cId="4155459258" sldId="1803"/>
            <ac:graphicFrameMk id="11" creationId="{ACF7D667-AD41-DFCA-B65A-E63FABE01CF7}"/>
          </ac:graphicFrameMkLst>
        </pc:graphicFrameChg>
        <pc:picChg chg="add del mod">
          <ac:chgData name="青山 大介(AOYAMA Daisuke)" userId="62e5c414-f8d4-431e-801f-75ea3be37d37" providerId="ADAL" clId="{9E185482-EDA2-424D-97B1-CFF725EDFC3E}" dt="2024-12-25T04:51:06.508" v="532" actId="478"/>
          <ac:picMkLst>
            <pc:docMk/>
            <pc:sldMk cId="4155459258" sldId="1803"/>
            <ac:picMk id="5" creationId="{3758D3EE-4D2F-CF41-31EC-D0C1B9EA000D}"/>
          </ac:picMkLst>
        </pc:picChg>
        <pc:picChg chg="add del mod">
          <ac:chgData name="青山 大介(AOYAMA Daisuke)" userId="62e5c414-f8d4-431e-801f-75ea3be37d37" providerId="ADAL" clId="{9E185482-EDA2-424D-97B1-CFF725EDFC3E}" dt="2024-12-25T04:51:30.639" v="537" actId="478"/>
          <ac:picMkLst>
            <pc:docMk/>
            <pc:sldMk cId="4155459258" sldId="1803"/>
            <ac:picMk id="7" creationId="{24CE2BAD-633C-2CDE-0788-C573C02042C6}"/>
          </ac:picMkLst>
        </pc:picChg>
        <pc:picChg chg="add mod">
          <ac:chgData name="青山 大介(AOYAMA Daisuke)" userId="62e5c414-f8d4-431e-801f-75ea3be37d37" providerId="ADAL" clId="{9E185482-EDA2-424D-97B1-CFF725EDFC3E}" dt="2024-12-25T04:52:11.269" v="540" actId="14100"/>
          <ac:picMkLst>
            <pc:docMk/>
            <pc:sldMk cId="4155459258" sldId="1803"/>
            <ac:picMk id="10" creationId="{5DDFAABF-5844-7CF2-427C-9DEFCE9C4A31}"/>
          </ac:picMkLst>
        </pc:picChg>
      </pc:sldChg>
    </pc:docChg>
  </pc:docChgLst>
  <pc:docChgLst>
    <pc:chgData name="牧野 充希(MAKINO Atsuki)" userId="e1bb11f1-fc18-4a8c-a6ff-e197300cb8d1" providerId="ADAL" clId="{D3B104FC-EBC2-4C08-B74D-ED4378F5DADF}"/>
    <pc:docChg chg="undo custSel addSld modSld modSection">
      <pc:chgData name="牧野 充希(MAKINO Atsuki)" userId="e1bb11f1-fc18-4a8c-a6ff-e197300cb8d1" providerId="ADAL" clId="{D3B104FC-EBC2-4C08-B74D-ED4378F5DADF}" dt="2025-04-10T08:59:16.399" v="253" actId="20577"/>
      <pc:docMkLst>
        <pc:docMk/>
      </pc:docMkLst>
      <pc:sldChg chg="modSp mod">
        <pc:chgData name="牧野 充希(MAKINO Atsuki)" userId="e1bb11f1-fc18-4a8c-a6ff-e197300cb8d1" providerId="ADAL" clId="{D3B104FC-EBC2-4C08-B74D-ED4378F5DADF}" dt="2025-04-10T08:58:13.771" v="138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D3B104FC-EBC2-4C08-B74D-ED4378F5DADF}" dt="2025-04-10T08:58:13.771" v="138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牧野 充希(MAKINO Atsuki)" userId="e1bb11f1-fc18-4a8c-a6ff-e197300cb8d1" providerId="ADAL" clId="{D3B104FC-EBC2-4C08-B74D-ED4378F5DADF}" dt="2025-04-10T08:59:16.399" v="253" actId="20577"/>
        <pc:sldMkLst>
          <pc:docMk/>
          <pc:sldMk cId="239995315" sldId="1810"/>
        </pc:sldMkLst>
        <pc:graphicFrameChg chg="modGraphic">
          <ac:chgData name="牧野 充希(MAKINO Atsuki)" userId="e1bb11f1-fc18-4a8c-a6ff-e197300cb8d1" providerId="ADAL" clId="{D3B104FC-EBC2-4C08-B74D-ED4378F5DADF}" dt="2025-04-10T08:59:16.399" v="253" actId="20577"/>
          <ac:graphicFrameMkLst>
            <pc:docMk/>
            <pc:sldMk cId="239995315" sldId="1810"/>
            <ac:graphicFrameMk id="8" creationId="{37C17ED4-31B5-BE1E-4D38-25AA300C4F1B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837479-F167-46A9-91DE-D29DC0E07EEF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09B3C7-3239-4625-8436-E6A709F012B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636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09B3C7-3239-4625-8436-E6A709F012B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58834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6/30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テキスト プレースホルダー 4">
            <a:extLst>
              <a:ext uri="{FF2B5EF4-FFF2-40B4-BE49-F238E27FC236}">
                <a16:creationId xmlns:a16="http://schemas.microsoft.com/office/drawing/2014/main" id="{10D6903D-2E18-47A2-969E-5E4E3112CF27}"/>
              </a:ext>
            </a:extLst>
          </p:cNvPr>
          <p:cNvSpPr txBox="1">
            <a:spLocks/>
          </p:cNvSpPr>
          <p:nvPr/>
        </p:nvSpPr>
        <p:spPr>
          <a:xfrm>
            <a:off x="152520" y="9144"/>
            <a:ext cx="9517057" cy="4320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dirty="0"/>
              <a:t>「次世代スマートヘルスシティ大阪」の実現（次世代スマートヘルス分野のスタートアップ支援機能の確保）プロジェクト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43D17366-363A-4144-ACD9-4F6089C51E67}"/>
              </a:ext>
            </a:extLst>
          </p:cNvPr>
          <p:cNvSpPr txBox="1"/>
          <p:nvPr/>
        </p:nvSpPr>
        <p:spPr>
          <a:xfrm>
            <a:off x="7807727" y="306811"/>
            <a:ext cx="1945753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lIns="108000" tIns="0" rIns="0" b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旧制度（推進）</a:t>
            </a:r>
          </a:p>
        </p:txBody>
      </p:sp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461CB1AC-C93A-403D-BC65-37447A8133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018921"/>
              </p:ext>
            </p:extLst>
          </p:nvPr>
        </p:nvGraphicFramePr>
        <p:xfrm>
          <a:off x="117473" y="700327"/>
          <a:ext cx="9671054" cy="60662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7687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3613019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670560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876268225"/>
                    </a:ext>
                  </a:extLst>
                </a:gridCol>
                <a:gridCol w="558304">
                  <a:extLst>
                    <a:ext uri="{9D8B030D-6E8A-4147-A177-3AD203B41FA5}">
                      <a16:colId xmlns:a16="http://schemas.microsoft.com/office/drawing/2014/main" val="157108038"/>
                    </a:ext>
                  </a:extLst>
                </a:gridCol>
                <a:gridCol w="3071884">
                  <a:extLst>
                    <a:ext uri="{9D8B030D-6E8A-4147-A177-3AD203B41FA5}">
                      <a16:colId xmlns:a16="http://schemas.microsoft.com/office/drawing/2014/main" val="3268912774"/>
                    </a:ext>
                  </a:extLst>
                </a:gridCol>
              </a:tblGrid>
              <a:tr h="3075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府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６年度第２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6292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  <a:endParaRPr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6-R7</a:t>
                      </a: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</a:t>
                      </a:r>
                      <a:endParaRPr lang="ja-JP" altLang="en-US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中の総事業費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カッコ内は</a:t>
                      </a:r>
                      <a:r>
                        <a:rPr kumimoji="1" lang="en-US" altLang="ja-JP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7</a:t>
                      </a: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0,307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（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0,000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5884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タイプ・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方創生推進タイプ・横展開型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分野（詳細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ローカルイノベーション分野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108919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大阪という地方の創生を図るため、府民の自発的な健康づくりを促進する効果の高い治療・予防アプリ等の「デジタルヘルス分野を専門領域とする支援機関」を確保。治療・予防アプリ等の社会実装支援等を展開。</a:t>
                      </a: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これにより、大阪における「デジタルヘルス分野のスタートアップ・エコシステム」を確立させるとともに、治療・予防アプリ等を活用した健康づくり人口を増加させ、府民ＱＯＬの向上を図る「次世代スマートヘルスシティ大阪」を実現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1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436763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概要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経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経費内訳は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7</a:t>
                      </a: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年度事業費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デジタルヘルス分野を専門領域とするスタートアップ支援機関の確保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ナレッジ蓄積・戦略化、エコシステム等のハブ機能に係る人件費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（委託料）</a:t>
                      </a:r>
                      <a:r>
                        <a:rPr kumimoji="0" lang="en-US" altLang="ja-JP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9,642</a:t>
                      </a: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デジタルヘルス分野のスタートアップの社会実装を中心とした伴走支援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伴走支援を担うコンサルタントチームに係る人件費（委託料）　　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kumimoji="0" lang="en-US" altLang="ja-JP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2,513</a:t>
                      </a: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ジャパンヘルス等を活用したビジネスマッチングに係る経費（委託料）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kumimoji="0" lang="en-US" altLang="ja-JP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54,215</a:t>
                      </a: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治療・予防アプリ等のデジタルヘルスに係るマーケットプレイスの展開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デジタルヘルスマーケットプレイスの構築・運用に係る経費（委託料）　</a:t>
                      </a:r>
                      <a:endParaRPr kumimoji="0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kumimoji="0" lang="en-US" altLang="ja-JP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,630</a:t>
                      </a:r>
                      <a:r>
                        <a:rPr kumimoji="0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</a:t>
                      </a:r>
                      <a:endParaRPr kumimoji="1" lang="en-US" altLang="ja-JP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101502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  <a:endParaRPr kumimoji="1" lang="en-US" altLang="ja-JP" sz="8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85725" indent="-85725" algn="just"/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ッコ内の数値は最終事業年度までの「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①地域における新規雇用者数　（＋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77</a:t>
                      </a: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人）</a:t>
                      </a:r>
                      <a:endParaRPr kumimoji="1" lang="en-US" altLang="ja-JP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②大阪府内で事業実施するスマートヘルス分野のスタートアップ数</a:t>
                      </a:r>
                      <a:endParaRPr kumimoji="1" lang="en-US" altLang="ja-JP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（＋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81</a:t>
                      </a: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社）</a:t>
                      </a:r>
                      <a:endParaRPr kumimoji="1" lang="en-US" altLang="ja-JP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③治療・予防アプリ等によって健康づくりに取り組む府民の数</a:t>
                      </a:r>
                      <a:endParaRPr kumimoji="1" lang="en-US" altLang="ja-JP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（＋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71,220</a:t>
                      </a: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人）</a:t>
                      </a:r>
                      <a:endParaRPr kumimoji="1" lang="en-US" altLang="ja-JP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④「デジタルヘルスマーケットプレイス」の閲覧数（＋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93,712PV</a:t>
                      </a: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）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E6D81998-834A-431D-A317-4D4ADE5BBC7C}"/>
              </a:ext>
            </a:extLst>
          </p:cNvPr>
          <p:cNvSpPr/>
          <p:nvPr/>
        </p:nvSpPr>
        <p:spPr>
          <a:xfrm>
            <a:off x="7547821" y="3369411"/>
            <a:ext cx="720000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88DB90A-96FE-4FA6-8D55-088697E7EA41}"/>
              </a:ext>
            </a:extLst>
          </p:cNvPr>
          <p:cNvCxnSpPr>
            <a:cxnSpLocks/>
            <a:stCxn id="5" idx="2"/>
            <a:endCxn id="11" idx="0"/>
          </p:cNvCxnSpPr>
          <p:nvPr/>
        </p:nvCxnSpPr>
        <p:spPr>
          <a:xfrm>
            <a:off x="7907821" y="3603411"/>
            <a:ext cx="0" cy="46393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A2A8295-A88A-44B2-9A77-570DB689B077}"/>
              </a:ext>
            </a:extLst>
          </p:cNvPr>
          <p:cNvSpPr txBox="1"/>
          <p:nvPr/>
        </p:nvSpPr>
        <p:spPr>
          <a:xfrm>
            <a:off x="7218377" y="3690049"/>
            <a:ext cx="681824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委託契約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B1DBFBD4-034A-49EF-B644-74080D2248FF}"/>
              </a:ext>
            </a:extLst>
          </p:cNvPr>
          <p:cNvSpPr/>
          <p:nvPr/>
        </p:nvSpPr>
        <p:spPr>
          <a:xfrm>
            <a:off x="6935566" y="4067346"/>
            <a:ext cx="1990319" cy="46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共同企業体</a:t>
            </a:r>
            <a:endParaRPr kumimoji="1" lang="en-US" altLang="ja-JP" sz="10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Osaka Smart Health Alliance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8C900319-A687-4E4D-A14A-BE6A07F4EEF8}"/>
              </a:ext>
            </a:extLst>
          </p:cNvPr>
          <p:cNvSpPr/>
          <p:nvPr/>
        </p:nvSpPr>
        <p:spPr>
          <a:xfrm>
            <a:off x="6580317" y="4829558"/>
            <a:ext cx="1226947" cy="3998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株式会社電通ライブ</a:t>
            </a:r>
          </a:p>
        </p:txBody>
      </p: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4CA51058-5517-4063-8A81-A2E1CED0182D}"/>
              </a:ext>
            </a:extLst>
          </p:cNvPr>
          <p:cNvCxnSpPr>
            <a:cxnSpLocks/>
            <a:endCxn id="12" idx="0"/>
          </p:cNvCxnSpPr>
          <p:nvPr/>
        </p:nvCxnSpPr>
        <p:spPr>
          <a:xfrm flipH="1">
            <a:off x="7193791" y="4535346"/>
            <a:ext cx="711" cy="29421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D8CDD92-F2FE-41D2-9ABC-B98BA534195D}"/>
              </a:ext>
            </a:extLst>
          </p:cNvPr>
          <p:cNvSpPr txBox="1"/>
          <p:nvPr/>
        </p:nvSpPr>
        <p:spPr>
          <a:xfrm>
            <a:off x="6394078" y="4561652"/>
            <a:ext cx="769277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一部再委託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6" name="表 45">
            <a:extLst>
              <a:ext uri="{FF2B5EF4-FFF2-40B4-BE49-F238E27FC236}">
                <a16:creationId xmlns:a16="http://schemas.microsoft.com/office/drawing/2014/main" id="{1F0C9D44-5117-42F3-B93A-4CA09F9AF1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417697"/>
              </p:ext>
            </p:extLst>
          </p:nvPr>
        </p:nvGraphicFramePr>
        <p:xfrm>
          <a:off x="6200783" y="5400719"/>
          <a:ext cx="3552697" cy="12412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47973">
                  <a:extLst>
                    <a:ext uri="{9D8B030D-6E8A-4147-A177-3AD203B41FA5}">
                      <a16:colId xmlns:a16="http://schemas.microsoft.com/office/drawing/2014/main" val="2758442477"/>
                    </a:ext>
                  </a:extLst>
                </a:gridCol>
                <a:gridCol w="2404724">
                  <a:extLst>
                    <a:ext uri="{9D8B030D-6E8A-4147-A177-3AD203B41FA5}">
                      <a16:colId xmlns:a16="http://schemas.microsoft.com/office/drawing/2014/main" val="3363882439"/>
                    </a:ext>
                  </a:extLst>
                </a:gridCol>
              </a:tblGrid>
              <a:tr h="243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3738176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Osaka Smart Health Alli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ナレッジ蓄積・戦略化、エコシステム等のハブ機能</a:t>
                      </a:r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ンサルタントチームによる伴走支援</a:t>
                      </a:r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ビジネスマッチングの企画</a:t>
                      </a:r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476272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株式会社電通ライブ</a:t>
                      </a:r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ビジネスマッチングの運営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5853147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株式会社</a:t>
                      </a:r>
                      <a:r>
                        <a:rPr kumimoji="1" lang="en-US" altLang="ja-JP" sz="900" dirty="0" err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ftax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ジタルヘルスマーケットプレイスの構築・運用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4477678"/>
                  </a:ext>
                </a:extLst>
              </a:tr>
            </a:tbl>
          </a:graphicData>
        </a:graphic>
      </p:graphicFrame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8ED21732-B694-4FA2-96ED-2DFD88F76663}"/>
              </a:ext>
            </a:extLst>
          </p:cNvPr>
          <p:cNvSpPr/>
          <p:nvPr/>
        </p:nvSpPr>
        <p:spPr>
          <a:xfrm>
            <a:off x="8123816" y="4829558"/>
            <a:ext cx="1226947" cy="3998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株式会社</a:t>
            </a:r>
            <a:r>
              <a:rPr kumimoji="1" lang="en-US" altLang="ja-JP" sz="1000" dirty="0" err="1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ftax</a:t>
            </a:r>
            <a:endParaRPr kumimoji="1" lang="en-US" altLang="ja-JP" sz="10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72FAAB9A-DAFB-455A-8CCF-EB71516CAE24}"/>
              </a:ext>
            </a:extLst>
          </p:cNvPr>
          <p:cNvCxnSpPr>
            <a:cxnSpLocks/>
            <a:endCxn id="17" idx="0"/>
          </p:cNvCxnSpPr>
          <p:nvPr/>
        </p:nvCxnSpPr>
        <p:spPr>
          <a:xfrm flipH="1">
            <a:off x="8737290" y="4535346"/>
            <a:ext cx="711" cy="29421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8A0AA943-E8CF-4363-9188-1835847F9906}"/>
              </a:ext>
            </a:extLst>
          </p:cNvPr>
          <p:cNvSpPr txBox="1"/>
          <p:nvPr/>
        </p:nvSpPr>
        <p:spPr>
          <a:xfrm>
            <a:off x="7930143" y="4561652"/>
            <a:ext cx="769277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一部再委託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4048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3" ma:contentTypeDescription="新しいドキュメントを作成します。" ma:contentTypeScope="" ma:versionID="371c07bc1f009aff4d92e927acb7398c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4c143a26da35c8638e8b1d62de7f574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Props1.xml><?xml version="1.0" encoding="utf-8"?>
<ds:datastoreItem xmlns:ds="http://schemas.openxmlformats.org/officeDocument/2006/customXml" ds:itemID="{861ADEB1-864A-48B3-A184-90C48CCC7050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180633-03E3-40B4-B06F-C40EFB9E2519}">
  <ds:schemaRefs>
    <ds:schemaRef ds:uri="15baf6f3-037f-47c4-8ce6-401f2145fe42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5f1cb31e-0878-4583-824f-77bbdf5ced5f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2</TotalTime>
  <Words>451</Words>
  <Application>Microsoft Office PowerPoint</Application>
  <PresentationFormat>A4 210 x 297 mm</PresentationFormat>
  <Paragraphs>63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尾白　大輔</cp:lastModifiedBy>
  <cp:revision>171</cp:revision>
  <cp:lastPrinted>2025-04-22T13:07:04Z</cp:lastPrinted>
  <dcterms:created xsi:type="dcterms:W3CDTF">2023-11-01T11:03:49Z</dcterms:created>
  <dcterms:modified xsi:type="dcterms:W3CDTF">2025-06-30T07:2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